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52" r:id="rId4"/>
    <p:sldMasterId id="2147483931" r:id="rId5"/>
  </p:sldMasterIdLst>
  <p:notesMasterIdLst>
    <p:notesMasterId r:id="rId39"/>
  </p:notesMasterIdLst>
  <p:handoutMasterIdLst>
    <p:handoutMasterId r:id="rId40"/>
  </p:handoutMasterIdLst>
  <p:sldIdLst>
    <p:sldId id="2226" r:id="rId6"/>
    <p:sldId id="2274" r:id="rId7"/>
    <p:sldId id="2275" r:id="rId8"/>
    <p:sldId id="2239" r:id="rId9"/>
    <p:sldId id="2266" r:id="rId10"/>
    <p:sldId id="2267" r:id="rId11"/>
    <p:sldId id="2268" r:id="rId12"/>
    <p:sldId id="2269" r:id="rId13"/>
    <p:sldId id="2276" r:id="rId14"/>
    <p:sldId id="2277" r:id="rId15"/>
    <p:sldId id="2278" r:id="rId16"/>
    <p:sldId id="2279" r:id="rId17"/>
    <p:sldId id="2280" r:id="rId18"/>
    <p:sldId id="2281" r:id="rId19"/>
    <p:sldId id="2282" r:id="rId20"/>
    <p:sldId id="2283" r:id="rId21"/>
    <p:sldId id="2284" r:id="rId22"/>
    <p:sldId id="2285" r:id="rId23"/>
    <p:sldId id="2286" r:id="rId24"/>
    <p:sldId id="2287" r:id="rId25"/>
    <p:sldId id="2288" r:id="rId26"/>
    <p:sldId id="2289" r:id="rId27"/>
    <p:sldId id="2290" r:id="rId28"/>
    <p:sldId id="2291" r:id="rId29"/>
    <p:sldId id="2299" r:id="rId30"/>
    <p:sldId id="2296" r:id="rId31"/>
    <p:sldId id="2297" r:id="rId32"/>
    <p:sldId id="2298" r:id="rId33"/>
    <p:sldId id="2292" r:id="rId34"/>
    <p:sldId id="2293" r:id="rId35"/>
    <p:sldId id="2294" r:id="rId36"/>
    <p:sldId id="2295" r:id="rId37"/>
    <p:sldId id="2241" r:id="rId38"/>
  </p:sldIdLst>
  <p:sldSz cx="9906000" cy="6858000" type="A4"/>
  <p:notesSz cx="6646863" cy="9777413"/>
  <p:defaultTextStyle>
    <a:defPPr>
      <a:defRPr lang="en-US"/>
    </a:defPPr>
    <a:lvl1pPr algn="l" rtl="0" eaLnBrk="0" fontAlgn="base" hangingPunct="0">
      <a:spcBef>
        <a:spcPct val="35000"/>
      </a:spcBef>
      <a:spcAft>
        <a:spcPct val="0"/>
      </a:spcAft>
      <a:defRPr sz="13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5000"/>
      </a:spcBef>
      <a:spcAft>
        <a:spcPct val="0"/>
      </a:spcAft>
      <a:defRPr sz="13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5000"/>
      </a:spcBef>
      <a:spcAft>
        <a:spcPct val="0"/>
      </a:spcAft>
      <a:defRPr sz="13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5000"/>
      </a:spcBef>
      <a:spcAft>
        <a:spcPct val="0"/>
      </a:spcAft>
      <a:defRPr sz="13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5000"/>
      </a:spcBef>
      <a:spcAft>
        <a:spcPct val="0"/>
      </a:spcAft>
      <a:defRPr sz="13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13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80" userDrawn="1">
          <p15:clr>
            <a:srgbClr val="A4A3A4"/>
          </p15:clr>
        </p15:guide>
        <p15:guide id="2" pos="2095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ani Salman" initials="RS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504D"/>
    <a:srgbClr val="FBE66B"/>
    <a:srgbClr val="9BBB59"/>
    <a:srgbClr val="FFFFFF"/>
    <a:srgbClr val="338E89"/>
    <a:srgbClr val="B3FFFF"/>
    <a:srgbClr val="339966"/>
    <a:srgbClr val="51D4FF"/>
    <a:srgbClr val="1945B2"/>
    <a:srgbClr val="C1FF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53" autoAdjust="0"/>
    <p:restoredTop sz="99414" autoAdjust="0"/>
  </p:normalViewPr>
  <p:slideViewPr>
    <p:cSldViewPr snapToGrid="0" showGuides="1">
      <p:cViewPr varScale="1">
        <p:scale>
          <a:sx n="91" d="100"/>
          <a:sy n="91" d="100"/>
        </p:scale>
        <p:origin x="1230" y="84"/>
      </p:cViewPr>
      <p:guideLst>
        <p:guide orient="horz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956"/>
    </p:cViewPr>
  </p:sorterViewPr>
  <p:notesViewPr>
    <p:cSldViewPr snapToGrid="0" showGuides="1">
      <p:cViewPr>
        <p:scale>
          <a:sx n="125" d="100"/>
          <a:sy n="125" d="100"/>
        </p:scale>
        <p:origin x="3012" y="-2706"/>
      </p:cViewPr>
      <p:guideLst>
        <p:guide orient="horz" pos="3080"/>
        <p:guide pos="2095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presProps" Target="presProp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viewProps" Target="view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20" Type="http://schemas.openxmlformats.org/officeDocument/2006/relationships/slide" Target="slides/slide15.xml"/><Relationship Id="rId41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873015873015876E-2"/>
          <c:y val="0"/>
          <c:w val="0.96825396825396826"/>
          <c:h val="0.9954729162760425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>
                <a:lumMod val="25000"/>
              </a:schemeClr>
            </a:solidFill>
          </c:spPr>
          <c:invertIfNegative val="0"/>
          <c:cat>
            <c:numRef>
              <c:f>Sheet1!$A$2:$A$70</c:f>
              <c:numCache>
                <c:formatCode>General</c:formatCode>
                <c:ptCount val="6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7">
                  <c:v>7</c:v>
                </c:pt>
                <c:pt idx="11">
                  <c:v>8</c:v>
                </c:pt>
                <c:pt idx="12">
                  <c:v>9</c:v>
                </c:pt>
                <c:pt idx="13">
                  <c:v>10</c:v>
                </c:pt>
                <c:pt idx="14">
                  <c:v>11</c:v>
                </c:pt>
                <c:pt idx="15">
                  <c:v>12</c:v>
                </c:pt>
                <c:pt idx="16">
                  <c:v>13</c:v>
                </c:pt>
                <c:pt idx="17">
                  <c:v>14</c:v>
                </c:pt>
                <c:pt idx="18">
                  <c:v>15</c:v>
                </c:pt>
                <c:pt idx="19">
                  <c:v>16</c:v>
                </c:pt>
                <c:pt idx="20">
                  <c:v>17</c:v>
                </c:pt>
                <c:pt idx="21">
                  <c:v>18</c:v>
                </c:pt>
                <c:pt idx="22">
                  <c:v>19</c:v>
                </c:pt>
                <c:pt idx="23">
                  <c:v>20</c:v>
                </c:pt>
                <c:pt idx="24">
                  <c:v>21</c:v>
                </c:pt>
                <c:pt idx="25">
                  <c:v>22</c:v>
                </c:pt>
                <c:pt idx="26">
                  <c:v>23</c:v>
                </c:pt>
                <c:pt idx="27">
                  <c:v>24</c:v>
                </c:pt>
                <c:pt idx="28">
                  <c:v>25</c:v>
                </c:pt>
                <c:pt idx="29">
                  <c:v>26</c:v>
                </c:pt>
                <c:pt idx="30">
                  <c:v>27</c:v>
                </c:pt>
                <c:pt idx="31">
                  <c:v>28</c:v>
                </c:pt>
                <c:pt idx="32">
                  <c:v>29</c:v>
                </c:pt>
                <c:pt idx="33">
                  <c:v>30</c:v>
                </c:pt>
                <c:pt idx="34">
                  <c:v>31</c:v>
                </c:pt>
                <c:pt idx="35">
                  <c:v>32</c:v>
                </c:pt>
                <c:pt idx="36">
                  <c:v>33</c:v>
                </c:pt>
                <c:pt idx="37">
                  <c:v>34</c:v>
                </c:pt>
                <c:pt idx="38">
                  <c:v>35</c:v>
                </c:pt>
                <c:pt idx="39">
                  <c:v>36</c:v>
                </c:pt>
                <c:pt idx="40">
                  <c:v>37</c:v>
                </c:pt>
                <c:pt idx="41">
                  <c:v>38</c:v>
                </c:pt>
                <c:pt idx="42">
                  <c:v>39</c:v>
                </c:pt>
                <c:pt idx="43">
                  <c:v>40</c:v>
                </c:pt>
                <c:pt idx="44">
                  <c:v>41</c:v>
                </c:pt>
                <c:pt idx="45">
                  <c:v>42</c:v>
                </c:pt>
                <c:pt idx="46">
                  <c:v>43</c:v>
                </c:pt>
                <c:pt idx="47">
                  <c:v>44</c:v>
                </c:pt>
                <c:pt idx="48">
                  <c:v>45</c:v>
                </c:pt>
                <c:pt idx="49">
                  <c:v>46</c:v>
                </c:pt>
                <c:pt idx="50">
                  <c:v>47</c:v>
                </c:pt>
                <c:pt idx="51">
                  <c:v>48</c:v>
                </c:pt>
                <c:pt idx="52">
                  <c:v>49</c:v>
                </c:pt>
                <c:pt idx="53">
                  <c:v>50</c:v>
                </c:pt>
                <c:pt idx="54">
                  <c:v>51</c:v>
                </c:pt>
                <c:pt idx="55">
                  <c:v>52</c:v>
                </c:pt>
                <c:pt idx="56">
                  <c:v>53</c:v>
                </c:pt>
                <c:pt idx="57">
                  <c:v>54</c:v>
                </c:pt>
                <c:pt idx="58">
                  <c:v>55</c:v>
                </c:pt>
                <c:pt idx="59">
                  <c:v>56</c:v>
                </c:pt>
                <c:pt idx="60">
                  <c:v>57</c:v>
                </c:pt>
                <c:pt idx="61">
                  <c:v>58</c:v>
                </c:pt>
                <c:pt idx="62">
                  <c:v>59</c:v>
                </c:pt>
                <c:pt idx="63">
                  <c:v>60</c:v>
                </c:pt>
                <c:pt idx="64">
                  <c:v>61</c:v>
                </c:pt>
                <c:pt idx="65">
                  <c:v>62</c:v>
                </c:pt>
                <c:pt idx="66">
                  <c:v>63</c:v>
                </c:pt>
                <c:pt idx="67">
                  <c:v>64</c:v>
                </c:pt>
                <c:pt idx="68">
                  <c:v>65</c:v>
                </c:pt>
              </c:numCache>
            </c:numRef>
          </c:cat>
          <c:val>
            <c:numRef>
              <c:f>Sheet1!$B$2:$B$70</c:f>
              <c:numCache>
                <c:formatCode>General</c:formatCode>
                <c:ptCount val="69"/>
                <c:pt idx="0">
                  <c:v>18</c:v>
                </c:pt>
                <c:pt idx="1">
                  <c:v>15</c:v>
                </c:pt>
                <c:pt idx="2">
                  <c:v>12</c:v>
                </c:pt>
                <c:pt idx="3">
                  <c:v>14</c:v>
                </c:pt>
                <c:pt idx="4">
                  <c:v>20</c:v>
                </c:pt>
                <c:pt idx="5">
                  <c:v>35</c:v>
                </c:pt>
                <c:pt idx="6">
                  <c:v>45</c:v>
                </c:pt>
                <c:pt idx="7">
                  <c:v>60</c:v>
                </c:pt>
                <c:pt idx="8">
                  <c:v>62</c:v>
                </c:pt>
                <c:pt idx="9">
                  <c:v>55</c:v>
                </c:pt>
                <c:pt idx="10">
                  <c:v>42</c:v>
                </c:pt>
                <c:pt idx="11">
                  <c:v>38</c:v>
                </c:pt>
                <c:pt idx="12">
                  <c:v>18</c:v>
                </c:pt>
                <c:pt idx="13">
                  <c:v>15</c:v>
                </c:pt>
                <c:pt idx="14">
                  <c:v>14</c:v>
                </c:pt>
                <c:pt idx="15">
                  <c:v>13</c:v>
                </c:pt>
                <c:pt idx="16">
                  <c:v>19</c:v>
                </c:pt>
                <c:pt idx="17">
                  <c:v>25</c:v>
                </c:pt>
                <c:pt idx="18">
                  <c:v>26</c:v>
                </c:pt>
                <c:pt idx="19">
                  <c:v>28</c:v>
                </c:pt>
                <c:pt idx="20">
                  <c:v>35</c:v>
                </c:pt>
                <c:pt idx="21">
                  <c:v>30</c:v>
                </c:pt>
                <c:pt idx="22">
                  <c:v>25</c:v>
                </c:pt>
                <c:pt idx="23">
                  <c:v>24</c:v>
                </c:pt>
                <c:pt idx="24">
                  <c:v>23</c:v>
                </c:pt>
                <c:pt idx="25">
                  <c:v>22</c:v>
                </c:pt>
                <c:pt idx="26">
                  <c:v>21</c:v>
                </c:pt>
                <c:pt idx="27">
                  <c:v>20</c:v>
                </c:pt>
                <c:pt idx="28">
                  <c:v>19</c:v>
                </c:pt>
                <c:pt idx="29">
                  <c:v>18</c:v>
                </c:pt>
                <c:pt idx="30">
                  <c:v>17</c:v>
                </c:pt>
                <c:pt idx="31">
                  <c:v>15</c:v>
                </c:pt>
                <c:pt idx="32">
                  <c:v>13</c:v>
                </c:pt>
                <c:pt idx="33">
                  <c:v>11</c:v>
                </c:pt>
                <c:pt idx="34">
                  <c:v>10</c:v>
                </c:pt>
                <c:pt idx="35">
                  <c:v>9</c:v>
                </c:pt>
                <c:pt idx="36">
                  <c:v>10</c:v>
                </c:pt>
                <c:pt idx="37">
                  <c:v>9</c:v>
                </c:pt>
                <c:pt idx="38">
                  <c:v>10</c:v>
                </c:pt>
                <c:pt idx="39">
                  <c:v>9</c:v>
                </c:pt>
                <c:pt idx="40">
                  <c:v>10</c:v>
                </c:pt>
                <c:pt idx="41">
                  <c:v>15</c:v>
                </c:pt>
                <c:pt idx="42">
                  <c:v>18</c:v>
                </c:pt>
                <c:pt idx="43">
                  <c:v>21</c:v>
                </c:pt>
                <c:pt idx="44">
                  <c:v>23</c:v>
                </c:pt>
                <c:pt idx="45">
                  <c:v>25</c:v>
                </c:pt>
                <c:pt idx="46">
                  <c:v>24</c:v>
                </c:pt>
                <c:pt idx="47">
                  <c:v>25</c:v>
                </c:pt>
                <c:pt idx="48">
                  <c:v>20</c:v>
                </c:pt>
                <c:pt idx="49">
                  <c:v>18</c:v>
                </c:pt>
                <c:pt idx="50">
                  <c:v>15</c:v>
                </c:pt>
                <c:pt idx="51">
                  <c:v>10</c:v>
                </c:pt>
                <c:pt idx="52">
                  <c:v>11</c:v>
                </c:pt>
                <c:pt idx="53">
                  <c:v>12</c:v>
                </c:pt>
                <c:pt idx="54">
                  <c:v>13</c:v>
                </c:pt>
                <c:pt idx="55">
                  <c:v>14</c:v>
                </c:pt>
                <c:pt idx="56">
                  <c:v>15</c:v>
                </c:pt>
                <c:pt idx="57">
                  <c:v>20</c:v>
                </c:pt>
                <c:pt idx="58">
                  <c:v>25</c:v>
                </c:pt>
                <c:pt idx="59">
                  <c:v>26</c:v>
                </c:pt>
                <c:pt idx="60">
                  <c:v>27</c:v>
                </c:pt>
                <c:pt idx="61">
                  <c:v>26</c:v>
                </c:pt>
                <c:pt idx="62">
                  <c:v>27</c:v>
                </c:pt>
                <c:pt idx="63">
                  <c:v>25</c:v>
                </c:pt>
                <c:pt idx="64">
                  <c:v>26</c:v>
                </c:pt>
                <c:pt idx="65">
                  <c:v>27</c:v>
                </c:pt>
                <c:pt idx="66">
                  <c:v>28</c:v>
                </c:pt>
                <c:pt idx="67">
                  <c:v>29</c:v>
                </c:pt>
                <c:pt idx="68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FD-4614-9929-26C37A4ACE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axId val="81098624"/>
        <c:axId val="81100160"/>
      </c:barChart>
      <c:catAx>
        <c:axId val="81098624"/>
        <c:scaling>
          <c:orientation val="maxMin"/>
        </c:scaling>
        <c:delete val="1"/>
        <c:axPos val="b"/>
        <c:numFmt formatCode="General" sourceLinked="1"/>
        <c:majorTickMark val="out"/>
        <c:minorTickMark val="none"/>
        <c:tickLblPos val="none"/>
        <c:crossAx val="81100160"/>
        <c:crosses val="autoZero"/>
        <c:auto val="1"/>
        <c:lblAlgn val="ctr"/>
        <c:lblOffset val="100"/>
        <c:noMultiLvlLbl val="0"/>
      </c:catAx>
      <c:valAx>
        <c:axId val="81100160"/>
        <c:scaling>
          <c:orientation val="minMax"/>
          <c:max val="70"/>
          <c:min val="0"/>
        </c:scaling>
        <c:delete val="1"/>
        <c:axPos val="r"/>
        <c:numFmt formatCode="General" sourceLinked="1"/>
        <c:majorTickMark val="out"/>
        <c:minorTickMark val="none"/>
        <c:tickLblPos val="none"/>
        <c:crossAx val="810986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7340254256779488E-2"/>
          <c:y val="0.12188256546133773"/>
          <c:w val="0.90243714232468553"/>
          <c:h val="0.71361075621028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درصد واقعی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BA6-4AA2-90CE-A805CD1AEC5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rtl="0">
                  <a:defRPr sz="1100" b="1">
                    <a:solidFill>
                      <a:schemeClr val="bg1"/>
                    </a:solidFill>
                    <a:latin typeface="Calibri" pitchFamily="34" charset="0"/>
                    <a:cs typeface="B Nazanin" pitchFamily="2" charset="-78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97-8</c:v>
                </c:pt>
                <c:pt idx="1">
                  <c:v>97-9</c:v>
                </c:pt>
                <c:pt idx="2">
                  <c:v>97-10</c:v>
                </c:pt>
                <c:pt idx="3">
                  <c:v>97-11</c:v>
                </c:pt>
                <c:pt idx="4">
                  <c:v>97-12</c:v>
                </c:pt>
              </c:strCache>
            </c:strRef>
          </c:cat>
          <c:val>
            <c:numRef>
              <c:f>Sheet1!$B$2:$B$6</c:f>
              <c:numCache>
                <c:formatCode>0.0%</c:formatCode>
                <c:ptCount val="5"/>
                <c:pt idx="0">
                  <c:v>0</c:v>
                </c:pt>
                <c:pt idx="1">
                  <c:v>0.22500000000000001</c:v>
                </c:pt>
                <c:pt idx="2">
                  <c:v>0.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35-45A2-9859-AC0774116B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122181888"/>
        <c:axId val="12219187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پیشرفت برنامه ای</c:v>
                </c:pt>
              </c:strCache>
            </c:strRef>
          </c:tx>
          <c:spPr>
            <a:ln w="38100">
              <a:solidFill>
                <a:srgbClr val="C0504D"/>
              </a:solidFill>
            </a:ln>
          </c:spPr>
          <c:marker>
            <c:symbol val="circle"/>
            <c:size val="5"/>
            <c:spPr>
              <a:solidFill>
                <a:srgbClr val="C0504D"/>
              </a:solidFill>
              <a:ln w="38100">
                <a:solidFill>
                  <a:srgbClr val="C0504D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 rtl="0">
                  <a:defRPr sz="800" b="1">
                    <a:solidFill>
                      <a:srgbClr val="C0504D"/>
                    </a:solidFill>
                    <a:latin typeface="+mn-lt"/>
                    <a:cs typeface="B Nazanin" panose="00000400000000000000" pitchFamily="2" charset="-78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6</c:f>
              <c:strCache>
                <c:ptCount val="5"/>
                <c:pt idx="0">
                  <c:v>97-8</c:v>
                </c:pt>
                <c:pt idx="1">
                  <c:v>97-9</c:v>
                </c:pt>
                <c:pt idx="2">
                  <c:v>97-10</c:v>
                </c:pt>
                <c:pt idx="3">
                  <c:v>97-11</c:v>
                </c:pt>
                <c:pt idx="4">
                  <c:v>97-12</c:v>
                </c:pt>
              </c:strCache>
            </c:strRef>
          </c:cat>
          <c:val>
            <c:numRef>
              <c:f>Sheet1!$C$2:$C$6</c:f>
              <c:numCache>
                <c:formatCode>0.0%</c:formatCode>
                <c:ptCount val="5"/>
                <c:pt idx="0">
                  <c:v>0</c:v>
                </c:pt>
                <c:pt idx="1">
                  <c:v>0.22500000000000001</c:v>
                </c:pt>
                <c:pt idx="2">
                  <c:v>0.47499999999999998</c:v>
                </c:pt>
                <c:pt idx="3">
                  <c:v>0.8</c:v>
                </c:pt>
                <c:pt idx="4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35-45A2-9859-AC0774116B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2181888"/>
        <c:axId val="122191872"/>
      </c:lineChart>
      <c:catAx>
        <c:axId val="122181888"/>
        <c:scaling>
          <c:orientation val="minMax"/>
        </c:scaling>
        <c:delete val="0"/>
        <c:axPos val="b"/>
        <c:numFmt formatCode="@" sourceLinked="0"/>
        <c:majorTickMark val="out"/>
        <c:minorTickMark val="none"/>
        <c:tickLblPos val="nextTo"/>
        <c:txPr>
          <a:bodyPr/>
          <a:lstStyle/>
          <a:p>
            <a:pPr rtl="0">
              <a:lnSpc>
                <a:spcPct val="60000"/>
              </a:lnSpc>
              <a:defRPr sz="1100" b="1">
                <a:cs typeface="B Nazanin" pitchFamily="2" charset="-78"/>
              </a:defRPr>
            </a:pPr>
            <a:endParaRPr lang="en-US"/>
          </a:p>
        </c:txPr>
        <c:crossAx val="122191872"/>
        <c:crosses val="autoZero"/>
        <c:auto val="1"/>
        <c:lblAlgn val="ctr"/>
        <c:lblOffset val="100"/>
        <c:noMultiLvlLbl val="0"/>
      </c:catAx>
      <c:valAx>
        <c:axId val="122191872"/>
        <c:scaling>
          <c:orientation val="minMax"/>
          <c:max val="1"/>
          <c:min val="0"/>
        </c:scaling>
        <c:delete val="0"/>
        <c:axPos val="l"/>
        <c:majorGridlines>
          <c:spPr>
            <a:ln w="28575">
              <a:solidFill>
                <a:schemeClr val="bg1"/>
              </a:solidFill>
            </a:ln>
          </c:spPr>
        </c:majorGridlines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000" b="1"/>
            </a:pPr>
            <a:endParaRPr lang="en-US"/>
          </a:p>
        </c:txPr>
        <c:crossAx val="122181888"/>
        <c:crosses val="autoZero"/>
        <c:crossBetween val="between"/>
        <c:majorUnit val="0.2"/>
      </c:valAx>
      <c:spPr>
        <a:solidFill>
          <a:srgbClr val="7DC7FF"/>
        </a:solidFill>
        <a:ln>
          <a:noFill/>
        </a:ln>
      </c:spPr>
    </c:plotArea>
    <c:legend>
      <c:legendPos val="t"/>
      <c:layout>
        <c:manualLayout>
          <c:xMode val="edge"/>
          <c:yMode val="edge"/>
          <c:x val="0.2476419763350739"/>
          <c:y val="0"/>
          <c:w val="0.51076675761353463"/>
          <c:h val="0.10865167942661501"/>
        </c:manualLayout>
      </c:layout>
      <c:overlay val="0"/>
      <c:txPr>
        <a:bodyPr/>
        <a:lstStyle/>
        <a:p>
          <a:pPr>
            <a:defRPr sz="900" b="1">
              <a:cs typeface="B Nazanin" panose="00000400000000000000" pitchFamily="2" charset="-78"/>
            </a:defRPr>
          </a:pPr>
          <a:endParaRPr lang="en-US"/>
        </a:p>
      </c:txPr>
    </c:legend>
    <c:plotVisOnly val="1"/>
    <c:dispBlanksAs val="gap"/>
    <c:showDLblsOverMax val="0"/>
  </c:chart>
  <c:spPr>
    <a:ln w="28575"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7340254256779488E-2"/>
          <c:y val="0.12188256546133773"/>
          <c:w val="0.90243714232468553"/>
          <c:h val="0.71361075621028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درصد واقعی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BA6-4AA2-90CE-A805CD1AEC5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rtl="0">
                  <a:defRPr sz="1100" b="1">
                    <a:solidFill>
                      <a:schemeClr val="bg1"/>
                    </a:solidFill>
                    <a:latin typeface="Calibri" pitchFamily="34" charset="0"/>
                    <a:cs typeface="B Nazanin" pitchFamily="2" charset="-78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4</c:f>
              <c:strCache>
                <c:ptCount val="13"/>
                <c:pt idx="0">
                  <c:v>97-09</c:v>
                </c:pt>
                <c:pt idx="1">
                  <c:v>97-10</c:v>
                </c:pt>
                <c:pt idx="2">
                  <c:v>97-11</c:v>
                </c:pt>
                <c:pt idx="3">
                  <c:v>97-12</c:v>
                </c:pt>
                <c:pt idx="4">
                  <c:v>98-1</c:v>
                </c:pt>
                <c:pt idx="5">
                  <c:v>98-2</c:v>
                </c:pt>
                <c:pt idx="6">
                  <c:v>98-3</c:v>
                </c:pt>
                <c:pt idx="7">
                  <c:v>98-4</c:v>
                </c:pt>
                <c:pt idx="8">
                  <c:v>98-5</c:v>
                </c:pt>
                <c:pt idx="9">
                  <c:v>98-6</c:v>
                </c:pt>
                <c:pt idx="10">
                  <c:v>98-7</c:v>
                </c:pt>
                <c:pt idx="11">
                  <c:v>98-8</c:v>
                </c:pt>
                <c:pt idx="12">
                  <c:v>98-9</c:v>
                </c:pt>
              </c:strCache>
            </c:strRef>
          </c:cat>
          <c:val>
            <c:numRef>
              <c:f>Sheet1!$B$2:$B$14</c:f>
              <c:numCache>
                <c:formatCode>General</c:formatCode>
                <c:ptCount val="13"/>
              </c:numCache>
            </c:numRef>
          </c:val>
          <c:extLst>
            <c:ext xmlns:c16="http://schemas.microsoft.com/office/drawing/2014/chart" uri="{C3380CC4-5D6E-409C-BE32-E72D297353CC}">
              <c16:uniqueId val="{00000000-3535-45A2-9859-AC0774116B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123126528"/>
        <c:axId val="12312806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پیشرفت برنامه ای</c:v>
                </c:pt>
              </c:strCache>
            </c:strRef>
          </c:tx>
          <c:spPr>
            <a:ln w="38100">
              <a:solidFill>
                <a:srgbClr val="C0504D"/>
              </a:solidFill>
            </a:ln>
          </c:spPr>
          <c:marker>
            <c:symbol val="circle"/>
            <c:size val="5"/>
            <c:spPr>
              <a:solidFill>
                <a:srgbClr val="C0504D"/>
              </a:solidFill>
              <a:ln w="38100">
                <a:solidFill>
                  <a:srgbClr val="C0504D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 rtl="0">
                  <a:defRPr sz="800" b="1">
                    <a:solidFill>
                      <a:srgbClr val="C0504D"/>
                    </a:solidFill>
                    <a:latin typeface="+mn-lt"/>
                    <a:cs typeface="B Nazanin" panose="00000400000000000000" pitchFamily="2" charset="-78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14</c:f>
              <c:strCache>
                <c:ptCount val="13"/>
                <c:pt idx="0">
                  <c:v>97-09</c:v>
                </c:pt>
                <c:pt idx="1">
                  <c:v>97-10</c:v>
                </c:pt>
                <c:pt idx="2">
                  <c:v>97-11</c:v>
                </c:pt>
                <c:pt idx="3">
                  <c:v>97-12</c:v>
                </c:pt>
                <c:pt idx="4">
                  <c:v>98-1</c:v>
                </c:pt>
                <c:pt idx="5">
                  <c:v>98-2</c:v>
                </c:pt>
                <c:pt idx="6">
                  <c:v>98-3</c:v>
                </c:pt>
                <c:pt idx="7">
                  <c:v>98-4</c:v>
                </c:pt>
                <c:pt idx="8">
                  <c:v>98-5</c:v>
                </c:pt>
                <c:pt idx="9">
                  <c:v>98-6</c:v>
                </c:pt>
                <c:pt idx="10">
                  <c:v>98-7</c:v>
                </c:pt>
                <c:pt idx="11">
                  <c:v>98-8</c:v>
                </c:pt>
                <c:pt idx="12">
                  <c:v>98-9</c:v>
                </c:pt>
              </c:strCache>
            </c:strRef>
          </c:cat>
          <c:val>
            <c:numRef>
              <c:f>Sheet1!$C$2:$C$14</c:f>
              <c:numCache>
                <c:formatCode>0.0%</c:formatCode>
                <c:ptCount val="13"/>
                <c:pt idx="0">
                  <c:v>7.5000000000000011E-2</c:v>
                </c:pt>
                <c:pt idx="1">
                  <c:v>0.22500000000000001</c:v>
                </c:pt>
                <c:pt idx="2">
                  <c:v>0.35000000000000003</c:v>
                </c:pt>
                <c:pt idx="3">
                  <c:v>0.4</c:v>
                </c:pt>
                <c:pt idx="4">
                  <c:v>0.45</c:v>
                </c:pt>
                <c:pt idx="5">
                  <c:v>0.5</c:v>
                </c:pt>
                <c:pt idx="6">
                  <c:v>0.56599999999999995</c:v>
                </c:pt>
                <c:pt idx="7">
                  <c:v>0.63300000000000012</c:v>
                </c:pt>
                <c:pt idx="8">
                  <c:v>0.70000000000000007</c:v>
                </c:pt>
                <c:pt idx="9">
                  <c:v>0.78600000000000003</c:v>
                </c:pt>
                <c:pt idx="10">
                  <c:v>0.87100000000000011</c:v>
                </c:pt>
                <c:pt idx="11">
                  <c:v>0.95700000000000007</c:v>
                </c:pt>
                <c:pt idx="12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35-45A2-9859-AC0774116B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3126528"/>
        <c:axId val="123128064"/>
      </c:lineChart>
      <c:catAx>
        <c:axId val="123126528"/>
        <c:scaling>
          <c:orientation val="minMax"/>
        </c:scaling>
        <c:delete val="0"/>
        <c:axPos val="b"/>
        <c:numFmt formatCode="@" sourceLinked="0"/>
        <c:majorTickMark val="out"/>
        <c:minorTickMark val="none"/>
        <c:tickLblPos val="nextTo"/>
        <c:txPr>
          <a:bodyPr/>
          <a:lstStyle/>
          <a:p>
            <a:pPr rtl="0">
              <a:lnSpc>
                <a:spcPct val="60000"/>
              </a:lnSpc>
              <a:defRPr sz="850" b="1" spc="-60" baseline="0">
                <a:cs typeface="B Nazanin" pitchFamily="2" charset="-78"/>
              </a:defRPr>
            </a:pPr>
            <a:endParaRPr lang="en-US"/>
          </a:p>
        </c:txPr>
        <c:crossAx val="123128064"/>
        <c:crosses val="autoZero"/>
        <c:auto val="1"/>
        <c:lblAlgn val="ctr"/>
        <c:lblOffset val="100"/>
        <c:noMultiLvlLbl val="0"/>
      </c:catAx>
      <c:valAx>
        <c:axId val="123128064"/>
        <c:scaling>
          <c:orientation val="minMax"/>
          <c:max val="1"/>
          <c:min val="0"/>
        </c:scaling>
        <c:delete val="0"/>
        <c:axPos val="l"/>
        <c:majorGridlines>
          <c:spPr>
            <a:ln w="28575">
              <a:solidFill>
                <a:schemeClr val="bg1"/>
              </a:solidFill>
            </a:ln>
          </c:spPr>
        </c:majorGridlines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000" b="1"/>
            </a:pPr>
            <a:endParaRPr lang="en-US"/>
          </a:p>
        </c:txPr>
        <c:crossAx val="123126528"/>
        <c:crosses val="autoZero"/>
        <c:crossBetween val="between"/>
        <c:majorUnit val="0.2"/>
      </c:valAx>
      <c:spPr>
        <a:solidFill>
          <a:srgbClr val="7DC7FF"/>
        </a:solidFill>
        <a:ln>
          <a:noFill/>
        </a:ln>
      </c:spPr>
    </c:plotArea>
    <c:legend>
      <c:legendPos val="t"/>
      <c:layout>
        <c:manualLayout>
          <c:xMode val="edge"/>
          <c:yMode val="edge"/>
          <c:x val="0.2476419763350739"/>
          <c:y val="0"/>
          <c:w val="0.51076675761353463"/>
          <c:h val="0.10865167942661501"/>
        </c:manualLayout>
      </c:layout>
      <c:overlay val="0"/>
      <c:txPr>
        <a:bodyPr/>
        <a:lstStyle/>
        <a:p>
          <a:pPr>
            <a:defRPr sz="900" b="1">
              <a:cs typeface="B Nazanin" panose="00000400000000000000" pitchFamily="2" charset="-78"/>
            </a:defRPr>
          </a:pPr>
          <a:endParaRPr lang="en-US"/>
        </a:p>
      </c:txPr>
    </c:legend>
    <c:plotVisOnly val="1"/>
    <c:dispBlanksAs val="gap"/>
    <c:showDLblsOverMax val="0"/>
  </c:chart>
  <c:spPr>
    <a:ln w="28575"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873015873015876E-2"/>
          <c:y val="0"/>
          <c:w val="0.96825396825396826"/>
          <c:h val="0.9954729162760425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>
                <a:lumMod val="25000"/>
              </a:schemeClr>
            </a:solidFill>
          </c:spPr>
          <c:invertIfNegative val="0"/>
          <c:cat>
            <c:numRef>
              <c:f>Sheet1!$A$2:$A$70</c:f>
              <c:numCache>
                <c:formatCode>General</c:formatCode>
                <c:ptCount val="6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7">
                  <c:v>7</c:v>
                </c:pt>
                <c:pt idx="11">
                  <c:v>8</c:v>
                </c:pt>
                <c:pt idx="12">
                  <c:v>9</c:v>
                </c:pt>
                <c:pt idx="13">
                  <c:v>10</c:v>
                </c:pt>
                <c:pt idx="14">
                  <c:v>11</c:v>
                </c:pt>
                <c:pt idx="15">
                  <c:v>12</c:v>
                </c:pt>
                <c:pt idx="16">
                  <c:v>13</c:v>
                </c:pt>
                <c:pt idx="17">
                  <c:v>14</c:v>
                </c:pt>
                <c:pt idx="18">
                  <c:v>15</c:v>
                </c:pt>
                <c:pt idx="19">
                  <c:v>16</c:v>
                </c:pt>
                <c:pt idx="20">
                  <c:v>17</c:v>
                </c:pt>
                <c:pt idx="21">
                  <c:v>18</c:v>
                </c:pt>
                <c:pt idx="22">
                  <c:v>19</c:v>
                </c:pt>
                <c:pt idx="23">
                  <c:v>20</c:v>
                </c:pt>
                <c:pt idx="24">
                  <c:v>21</c:v>
                </c:pt>
                <c:pt idx="25">
                  <c:v>22</c:v>
                </c:pt>
                <c:pt idx="26">
                  <c:v>23</c:v>
                </c:pt>
                <c:pt idx="27">
                  <c:v>24</c:v>
                </c:pt>
                <c:pt idx="28">
                  <c:v>25</c:v>
                </c:pt>
                <c:pt idx="29">
                  <c:v>26</c:v>
                </c:pt>
                <c:pt idx="30">
                  <c:v>27</c:v>
                </c:pt>
                <c:pt idx="31">
                  <c:v>28</c:v>
                </c:pt>
                <c:pt idx="32">
                  <c:v>29</c:v>
                </c:pt>
                <c:pt idx="33">
                  <c:v>30</c:v>
                </c:pt>
                <c:pt idx="34">
                  <c:v>31</c:v>
                </c:pt>
                <c:pt idx="35">
                  <c:v>32</c:v>
                </c:pt>
                <c:pt idx="36">
                  <c:v>33</c:v>
                </c:pt>
                <c:pt idx="37">
                  <c:v>34</c:v>
                </c:pt>
                <c:pt idx="38">
                  <c:v>35</c:v>
                </c:pt>
                <c:pt idx="39">
                  <c:v>36</c:v>
                </c:pt>
                <c:pt idx="40">
                  <c:v>37</c:v>
                </c:pt>
                <c:pt idx="41">
                  <c:v>38</c:v>
                </c:pt>
                <c:pt idx="42">
                  <c:v>39</c:v>
                </c:pt>
                <c:pt idx="43">
                  <c:v>40</c:v>
                </c:pt>
                <c:pt idx="44">
                  <c:v>41</c:v>
                </c:pt>
                <c:pt idx="45">
                  <c:v>42</c:v>
                </c:pt>
                <c:pt idx="46">
                  <c:v>43</c:v>
                </c:pt>
                <c:pt idx="47">
                  <c:v>44</c:v>
                </c:pt>
                <c:pt idx="48">
                  <c:v>45</c:v>
                </c:pt>
                <c:pt idx="49">
                  <c:v>46</c:v>
                </c:pt>
                <c:pt idx="50">
                  <c:v>47</c:v>
                </c:pt>
                <c:pt idx="51">
                  <c:v>48</c:v>
                </c:pt>
                <c:pt idx="52">
                  <c:v>49</c:v>
                </c:pt>
                <c:pt idx="53">
                  <c:v>50</c:v>
                </c:pt>
                <c:pt idx="54">
                  <c:v>51</c:v>
                </c:pt>
                <c:pt idx="55">
                  <c:v>52</c:v>
                </c:pt>
                <c:pt idx="56">
                  <c:v>53</c:v>
                </c:pt>
                <c:pt idx="57">
                  <c:v>54</c:v>
                </c:pt>
                <c:pt idx="58">
                  <c:v>55</c:v>
                </c:pt>
                <c:pt idx="59">
                  <c:v>56</c:v>
                </c:pt>
                <c:pt idx="60">
                  <c:v>57</c:v>
                </c:pt>
                <c:pt idx="61">
                  <c:v>58</c:v>
                </c:pt>
                <c:pt idx="62">
                  <c:v>59</c:v>
                </c:pt>
                <c:pt idx="63">
                  <c:v>60</c:v>
                </c:pt>
                <c:pt idx="64">
                  <c:v>61</c:v>
                </c:pt>
                <c:pt idx="65">
                  <c:v>62</c:v>
                </c:pt>
                <c:pt idx="66">
                  <c:v>63</c:v>
                </c:pt>
                <c:pt idx="67">
                  <c:v>64</c:v>
                </c:pt>
                <c:pt idx="68">
                  <c:v>65</c:v>
                </c:pt>
              </c:numCache>
            </c:numRef>
          </c:cat>
          <c:val>
            <c:numRef>
              <c:f>Sheet1!$B$2:$B$70</c:f>
              <c:numCache>
                <c:formatCode>General</c:formatCode>
                <c:ptCount val="69"/>
                <c:pt idx="0">
                  <c:v>18</c:v>
                </c:pt>
                <c:pt idx="1">
                  <c:v>15</c:v>
                </c:pt>
                <c:pt idx="2">
                  <c:v>12</c:v>
                </c:pt>
                <c:pt idx="3">
                  <c:v>14</c:v>
                </c:pt>
                <c:pt idx="4">
                  <c:v>20</c:v>
                </c:pt>
                <c:pt idx="5">
                  <c:v>35</c:v>
                </c:pt>
                <c:pt idx="6">
                  <c:v>45</c:v>
                </c:pt>
                <c:pt idx="7">
                  <c:v>60</c:v>
                </c:pt>
                <c:pt idx="8">
                  <c:v>62</c:v>
                </c:pt>
                <c:pt idx="9">
                  <c:v>55</c:v>
                </c:pt>
                <c:pt idx="10">
                  <c:v>42</c:v>
                </c:pt>
                <c:pt idx="11">
                  <c:v>38</c:v>
                </c:pt>
                <c:pt idx="12">
                  <c:v>18</c:v>
                </c:pt>
                <c:pt idx="13">
                  <c:v>15</c:v>
                </c:pt>
                <c:pt idx="14">
                  <c:v>14</c:v>
                </c:pt>
                <c:pt idx="15">
                  <c:v>13</c:v>
                </c:pt>
                <c:pt idx="16">
                  <c:v>19</c:v>
                </c:pt>
                <c:pt idx="17">
                  <c:v>25</c:v>
                </c:pt>
                <c:pt idx="18">
                  <c:v>26</c:v>
                </c:pt>
                <c:pt idx="19">
                  <c:v>28</c:v>
                </c:pt>
                <c:pt idx="20">
                  <c:v>35</c:v>
                </c:pt>
                <c:pt idx="21">
                  <c:v>30</c:v>
                </c:pt>
                <c:pt idx="22">
                  <c:v>25</c:v>
                </c:pt>
                <c:pt idx="23">
                  <c:v>24</c:v>
                </c:pt>
                <c:pt idx="24">
                  <c:v>23</c:v>
                </c:pt>
                <c:pt idx="25">
                  <c:v>22</c:v>
                </c:pt>
                <c:pt idx="26">
                  <c:v>21</c:v>
                </c:pt>
                <c:pt idx="27">
                  <c:v>20</c:v>
                </c:pt>
                <c:pt idx="28">
                  <c:v>19</c:v>
                </c:pt>
                <c:pt idx="29">
                  <c:v>18</c:v>
                </c:pt>
                <c:pt idx="30">
                  <c:v>17</c:v>
                </c:pt>
                <c:pt idx="31">
                  <c:v>15</c:v>
                </c:pt>
                <c:pt idx="32">
                  <c:v>13</c:v>
                </c:pt>
                <c:pt idx="33">
                  <c:v>11</c:v>
                </c:pt>
                <c:pt idx="34">
                  <c:v>10</c:v>
                </c:pt>
                <c:pt idx="35">
                  <c:v>9</c:v>
                </c:pt>
                <c:pt idx="36">
                  <c:v>10</c:v>
                </c:pt>
                <c:pt idx="37">
                  <c:v>9</c:v>
                </c:pt>
                <c:pt idx="38">
                  <c:v>10</c:v>
                </c:pt>
                <c:pt idx="39">
                  <c:v>9</c:v>
                </c:pt>
                <c:pt idx="40">
                  <c:v>10</c:v>
                </c:pt>
                <c:pt idx="41">
                  <c:v>15</c:v>
                </c:pt>
                <c:pt idx="42">
                  <c:v>18</c:v>
                </c:pt>
                <c:pt idx="43">
                  <c:v>21</c:v>
                </c:pt>
                <c:pt idx="44">
                  <c:v>23</c:v>
                </c:pt>
                <c:pt idx="45">
                  <c:v>25</c:v>
                </c:pt>
                <c:pt idx="46">
                  <c:v>24</c:v>
                </c:pt>
                <c:pt idx="47">
                  <c:v>25</c:v>
                </c:pt>
                <c:pt idx="48">
                  <c:v>20</c:v>
                </c:pt>
                <c:pt idx="49">
                  <c:v>18</c:v>
                </c:pt>
                <c:pt idx="50">
                  <c:v>15</c:v>
                </c:pt>
                <c:pt idx="51">
                  <c:v>10</c:v>
                </c:pt>
                <c:pt idx="52">
                  <c:v>11</c:v>
                </c:pt>
                <c:pt idx="53">
                  <c:v>12</c:v>
                </c:pt>
                <c:pt idx="54">
                  <c:v>13</c:v>
                </c:pt>
                <c:pt idx="55">
                  <c:v>14</c:v>
                </c:pt>
                <c:pt idx="56">
                  <c:v>15</c:v>
                </c:pt>
                <c:pt idx="57">
                  <c:v>20</c:v>
                </c:pt>
                <c:pt idx="58">
                  <c:v>25</c:v>
                </c:pt>
                <c:pt idx="59">
                  <c:v>26</c:v>
                </c:pt>
                <c:pt idx="60">
                  <c:v>27</c:v>
                </c:pt>
                <c:pt idx="61">
                  <c:v>26</c:v>
                </c:pt>
                <c:pt idx="62">
                  <c:v>27</c:v>
                </c:pt>
                <c:pt idx="63">
                  <c:v>25</c:v>
                </c:pt>
                <c:pt idx="64">
                  <c:v>26</c:v>
                </c:pt>
                <c:pt idx="65">
                  <c:v>27</c:v>
                </c:pt>
                <c:pt idx="66">
                  <c:v>28</c:v>
                </c:pt>
                <c:pt idx="67">
                  <c:v>29</c:v>
                </c:pt>
                <c:pt idx="68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FD-4614-9929-26C37A4ACE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axId val="81196928"/>
        <c:axId val="81198464"/>
      </c:barChart>
      <c:catAx>
        <c:axId val="81196928"/>
        <c:scaling>
          <c:orientation val="maxMin"/>
        </c:scaling>
        <c:delete val="1"/>
        <c:axPos val="b"/>
        <c:numFmt formatCode="General" sourceLinked="1"/>
        <c:majorTickMark val="out"/>
        <c:minorTickMark val="none"/>
        <c:tickLblPos val="none"/>
        <c:crossAx val="81198464"/>
        <c:crosses val="autoZero"/>
        <c:auto val="1"/>
        <c:lblAlgn val="ctr"/>
        <c:lblOffset val="100"/>
        <c:noMultiLvlLbl val="0"/>
      </c:catAx>
      <c:valAx>
        <c:axId val="81198464"/>
        <c:scaling>
          <c:orientation val="minMax"/>
          <c:max val="70"/>
          <c:min val="0"/>
        </c:scaling>
        <c:delete val="1"/>
        <c:axPos val="r"/>
        <c:numFmt formatCode="General" sourceLinked="1"/>
        <c:majorTickMark val="out"/>
        <c:minorTickMark val="none"/>
        <c:tickLblPos val="none"/>
        <c:crossAx val="8119692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873015873015876E-2"/>
          <c:y val="0"/>
          <c:w val="0.96825396825396826"/>
          <c:h val="0.9954729162760425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>
                <a:lumMod val="25000"/>
              </a:schemeClr>
            </a:solidFill>
          </c:spPr>
          <c:invertIfNegative val="0"/>
          <c:cat>
            <c:numRef>
              <c:f>Sheet1!$A$2:$A$70</c:f>
              <c:numCache>
                <c:formatCode>General</c:formatCode>
                <c:ptCount val="6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7">
                  <c:v>7</c:v>
                </c:pt>
                <c:pt idx="11">
                  <c:v>8</c:v>
                </c:pt>
                <c:pt idx="12">
                  <c:v>9</c:v>
                </c:pt>
                <c:pt idx="13">
                  <c:v>10</c:v>
                </c:pt>
                <c:pt idx="14">
                  <c:v>11</c:v>
                </c:pt>
                <c:pt idx="15">
                  <c:v>12</c:v>
                </c:pt>
                <c:pt idx="16">
                  <c:v>13</c:v>
                </c:pt>
                <c:pt idx="17">
                  <c:v>14</c:v>
                </c:pt>
                <c:pt idx="18">
                  <c:v>15</c:v>
                </c:pt>
                <c:pt idx="19">
                  <c:v>16</c:v>
                </c:pt>
                <c:pt idx="20">
                  <c:v>17</c:v>
                </c:pt>
                <c:pt idx="21">
                  <c:v>18</c:v>
                </c:pt>
                <c:pt idx="22">
                  <c:v>19</c:v>
                </c:pt>
                <c:pt idx="23">
                  <c:v>20</c:v>
                </c:pt>
                <c:pt idx="24">
                  <c:v>21</c:v>
                </c:pt>
                <c:pt idx="25">
                  <c:v>22</c:v>
                </c:pt>
                <c:pt idx="26">
                  <c:v>23</c:v>
                </c:pt>
                <c:pt idx="27">
                  <c:v>24</c:v>
                </c:pt>
                <c:pt idx="28">
                  <c:v>25</c:v>
                </c:pt>
                <c:pt idx="29">
                  <c:v>26</c:v>
                </c:pt>
                <c:pt idx="30">
                  <c:v>27</c:v>
                </c:pt>
                <c:pt idx="31">
                  <c:v>28</c:v>
                </c:pt>
                <c:pt idx="32">
                  <c:v>29</c:v>
                </c:pt>
                <c:pt idx="33">
                  <c:v>30</c:v>
                </c:pt>
                <c:pt idx="34">
                  <c:v>31</c:v>
                </c:pt>
                <c:pt idx="35">
                  <c:v>32</c:v>
                </c:pt>
                <c:pt idx="36">
                  <c:v>33</c:v>
                </c:pt>
                <c:pt idx="37">
                  <c:v>34</c:v>
                </c:pt>
                <c:pt idx="38">
                  <c:v>35</c:v>
                </c:pt>
                <c:pt idx="39">
                  <c:v>36</c:v>
                </c:pt>
                <c:pt idx="40">
                  <c:v>37</c:v>
                </c:pt>
                <c:pt idx="41">
                  <c:v>38</c:v>
                </c:pt>
                <c:pt idx="42">
                  <c:v>39</c:v>
                </c:pt>
                <c:pt idx="43">
                  <c:v>40</c:v>
                </c:pt>
                <c:pt idx="44">
                  <c:v>41</c:v>
                </c:pt>
                <c:pt idx="45">
                  <c:v>42</c:v>
                </c:pt>
                <c:pt idx="46">
                  <c:v>43</c:v>
                </c:pt>
                <c:pt idx="47">
                  <c:v>44</c:v>
                </c:pt>
                <c:pt idx="48">
                  <c:v>45</c:v>
                </c:pt>
                <c:pt idx="49">
                  <c:v>46</c:v>
                </c:pt>
                <c:pt idx="50">
                  <c:v>47</c:v>
                </c:pt>
                <c:pt idx="51">
                  <c:v>48</c:v>
                </c:pt>
                <c:pt idx="52">
                  <c:v>49</c:v>
                </c:pt>
                <c:pt idx="53">
                  <c:v>50</c:v>
                </c:pt>
                <c:pt idx="54">
                  <c:v>51</c:v>
                </c:pt>
                <c:pt idx="55">
                  <c:v>52</c:v>
                </c:pt>
                <c:pt idx="56">
                  <c:v>53</c:v>
                </c:pt>
                <c:pt idx="57">
                  <c:v>54</c:v>
                </c:pt>
                <c:pt idx="58">
                  <c:v>55</c:v>
                </c:pt>
                <c:pt idx="59">
                  <c:v>56</c:v>
                </c:pt>
                <c:pt idx="60">
                  <c:v>57</c:v>
                </c:pt>
                <c:pt idx="61">
                  <c:v>58</c:v>
                </c:pt>
                <c:pt idx="62">
                  <c:v>59</c:v>
                </c:pt>
                <c:pt idx="63">
                  <c:v>60</c:v>
                </c:pt>
                <c:pt idx="64">
                  <c:v>61</c:v>
                </c:pt>
                <c:pt idx="65">
                  <c:v>62</c:v>
                </c:pt>
                <c:pt idx="66">
                  <c:v>63</c:v>
                </c:pt>
                <c:pt idx="67">
                  <c:v>64</c:v>
                </c:pt>
                <c:pt idx="68">
                  <c:v>65</c:v>
                </c:pt>
              </c:numCache>
            </c:numRef>
          </c:cat>
          <c:val>
            <c:numRef>
              <c:f>Sheet1!$B$2:$B$70</c:f>
              <c:numCache>
                <c:formatCode>General</c:formatCode>
                <c:ptCount val="69"/>
                <c:pt idx="0">
                  <c:v>18</c:v>
                </c:pt>
                <c:pt idx="1">
                  <c:v>15</c:v>
                </c:pt>
                <c:pt idx="2">
                  <c:v>12</c:v>
                </c:pt>
                <c:pt idx="3">
                  <c:v>14</c:v>
                </c:pt>
                <c:pt idx="4">
                  <c:v>20</c:v>
                </c:pt>
                <c:pt idx="5">
                  <c:v>35</c:v>
                </c:pt>
                <c:pt idx="6">
                  <c:v>45</c:v>
                </c:pt>
                <c:pt idx="7">
                  <c:v>60</c:v>
                </c:pt>
                <c:pt idx="8">
                  <c:v>62</c:v>
                </c:pt>
                <c:pt idx="9">
                  <c:v>55</c:v>
                </c:pt>
                <c:pt idx="10">
                  <c:v>42</c:v>
                </c:pt>
                <c:pt idx="11">
                  <c:v>38</c:v>
                </c:pt>
                <c:pt idx="12">
                  <c:v>18</c:v>
                </c:pt>
                <c:pt idx="13">
                  <c:v>15</c:v>
                </c:pt>
                <c:pt idx="14">
                  <c:v>14</c:v>
                </c:pt>
                <c:pt idx="15">
                  <c:v>13</c:v>
                </c:pt>
                <c:pt idx="16">
                  <c:v>19</c:v>
                </c:pt>
                <c:pt idx="17">
                  <c:v>25</c:v>
                </c:pt>
                <c:pt idx="18">
                  <c:v>26</c:v>
                </c:pt>
                <c:pt idx="19">
                  <c:v>28</c:v>
                </c:pt>
                <c:pt idx="20">
                  <c:v>35</c:v>
                </c:pt>
                <c:pt idx="21">
                  <c:v>30</c:v>
                </c:pt>
                <c:pt idx="22">
                  <c:v>25</c:v>
                </c:pt>
                <c:pt idx="23">
                  <c:v>24</c:v>
                </c:pt>
                <c:pt idx="24">
                  <c:v>23</c:v>
                </c:pt>
                <c:pt idx="25">
                  <c:v>22</c:v>
                </c:pt>
                <c:pt idx="26">
                  <c:v>21</c:v>
                </c:pt>
                <c:pt idx="27">
                  <c:v>20</c:v>
                </c:pt>
                <c:pt idx="28">
                  <c:v>19</c:v>
                </c:pt>
                <c:pt idx="29">
                  <c:v>18</c:v>
                </c:pt>
                <c:pt idx="30">
                  <c:v>17</c:v>
                </c:pt>
                <c:pt idx="31">
                  <c:v>15</c:v>
                </c:pt>
                <c:pt idx="32">
                  <c:v>13</c:v>
                </c:pt>
                <c:pt idx="33">
                  <c:v>11</c:v>
                </c:pt>
                <c:pt idx="34">
                  <c:v>10</c:v>
                </c:pt>
                <c:pt idx="35">
                  <c:v>9</c:v>
                </c:pt>
                <c:pt idx="36">
                  <c:v>10</c:v>
                </c:pt>
                <c:pt idx="37">
                  <c:v>9</c:v>
                </c:pt>
                <c:pt idx="38">
                  <c:v>10</c:v>
                </c:pt>
                <c:pt idx="39">
                  <c:v>9</c:v>
                </c:pt>
                <c:pt idx="40">
                  <c:v>10</c:v>
                </c:pt>
                <c:pt idx="41">
                  <c:v>15</c:v>
                </c:pt>
                <c:pt idx="42">
                  <c:v>18</c:v>
                </c:pt>
                <c:pt idx="43">
                  <c:v>21</c:v>
                </c:pt>
                <c:pt idx="44">
                  <c:v>23</c:v>
                </c:pt>
                <c:pt idx="45">
                  <c:v>25</c:v>
                </c:pt>
                <c:pt idx="46">
                  <c:v>24</c:v>
                </c:pt>
                <c:pt idx="47">
                  <c:v>25</c:v>
                </c:pt>
                <c:pt idx="48">
                  <c:v>20</c:v>
                </c:pt>
                <c:pt idx="49">
                  <c:v>18</c:v>
                </c:pt>
                <c:pt idx="50">
                  <c:v>15</c:v>
                </c:pt>
                <c:pt idx="51">
                  <c:v>10</c:v>
                </c:pt>
                <c:pt idx="52">
                  <c:v>11</c:v>
                </c:pt>
                <c:pt idx="53">
                  <c:v>12</c:v>
                </c:pt>
                <c:pt idx="54">
                  <c:v>13</c:v>
                </c:pt>
                <c:pt idx="55">
                  <c:v>14</c:v>
                </c:pt>
                <c:pt idx="56">
                  <c:v>15</c:v>
                </c:pt>
                <c:pt idx="57">
                  <c:v>20</c:v>
                </c:pt>
                <c:pt idx="58">
                  <c:v>25</c:v>
                </c:pt>
                <c:pt idx="59">
                  <c:v>26</c:v>
                </c:pt>
                <c:pt idx="60">
                  <c:v>27</c:v>
                </c:pt>
                <c:pt idx="61">
                  <c:v>26</c:v>
                </c:pt>
                <c:pt idx="62">
                  <c:v>27</c:v>
                </c:pt>
                <c:pt idx="63">
                  <c:v>25</c:v>
                </c:pt>
                <c:pt idx="64">
                  <c:v>26</c:v>
                </c:pt>
                <c:pt idx="65">
                  <c:v>27</c:v>
                </c:pt>
                <c:pt idx="66">
                  <c:v>28</c:v>
                </c:pt>
                <c:pt idx="67">
                  <c:v>29</c:v>
                </c:pt>
                <c:pt idx="68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FD-4614-9929-26C37A4ACE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axId val="81098624"/>
        <c:axId val="81100160"/>
      </c:barChart>
      <c:catAx>
        <c:axId val="81098624"/>
        <c:scaling>
          <c:orientation val="maxMin"/>
        </c:scaling>
        <c:delete val="1"/>
        <c:axPos val="b"/>
        <c:numFmt formatCode="General" sourceLinked="1"/>
        <c:majorTickMark val="out"/>
        <c:minorTickMark val="none"/>
        <c:tickLblPos val="none"/>
        <c:crossAx val="81100160"/>
        <c:crosses val="autoZero"/>
        <c:auto val="1"/>
        <c:lblAlgn val="ctr"/>
        <c:lblOffset val="100"/>
        <c:noMultiLvlLbl val="0"/>
      </c:catAx>
      <c:valAx>
        <c:axId val="81100160"/>
        <c:scaling>
          <c:orientation val="minMax"/>
          <c:max val="70"/>
          <c:min val="0"/>
        </c:scaling>
        <c:delete val="1"/>
        <c:axPos val="r"/>
        <c:numFmt formatCode="General" sourceLinked="1"/>
        <c:majorTickMark val="out"/>
        <c:minorTickMark val="none"/>
        <c:tickLblPos val="none"/>
        <c:crossAx val="810986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873015873015876E-2"/>
          <c:y val="0"/>
          <c:w val="0.96825396825396826"/>
          <c:h val="0.9954729162760425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>
                <a:lumMod val="25000"/>
              </a:schemeClr>
            </a:solidFill>
          </c:spPr>
          <c:invertIfNegative val="0"/>
          <c:cat>
            <c:numRef>
              <c:f>Sheet1!$A$2:$A$70</c:f>
              <c:numCache>
                <c:formatCode>General</c:formatCode>
                <c:ptCount val="6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7">
                  <c:v>7</c:v>
                </c:pt>
                <c:pt idx="11">
                  <c:v>8</c:v>
                </c:pt>
                <c:pt idx="12">
                  <c:v>9</c:v>
                </c:pt>
                <c:pt idx="13">
                  <c:v>10</c:v>
                </c:pt>
                <c:pt idx="14">
                  <c:v>11</c:v>
                </c:pt>
                <c:pt idx="15">
                  <c:v>12</c:v>
                </c:pt>
                <c:pt idx="16">
                  <c:v>13</c:v>
                </c:pt>
                <c:pt idx="17">
                  <c:v>14</c:v>
                </c:pt>
                <c:pt idx="18">
                  <c:v>15</c:v>
                </c:pt>
                <c:pt idx="19">
                  <c:v>16</c:v>
                </c:pt>
                <c:pt idx="20">
                  <c:v>17</c:v>
                </c:pt>
                <c:pt idx="21">
                  <c:v>18</c:v>
                </c:pt>
                <c:pt idx="22">
                  <c:v>19</c:v>
                </c:pt>
                <c:pt idx="23">
                  <c:v>20</c:v>
                </c:pt>
                <c:pt idx="24">
                  <c:v>21</c:v>
                </c:pt>
                <c:pt idx="25">
                  <c:v>22</c:v>
                </c:pt>
                <c:pt idx="26">
                  <c:v>23</c:v>
                </c:pt>
                <c:pt idx="27">
                  <c:v>24</c:v>
                </c:pt>
                <c:pt idx="28">
                  <c:v>25</c:v>
                </c:pt>
                <c:pt idx="29">
                  <c:v>26</c:v>
                </c:pt>
                <c:pt idx="30">
                  <c:v>27</c:v>
                </c:pt>
                <c:pt idx="31">
                  <c:v>28</c:v>
                </c:pt>
                <c:pt idx="32">
                  <c:v>29</c:v>
                </c:pt>
                <c:pt idx="33">
                  <c:v>30</c:v>
                </c:pt>
                <c:pt idx="34">
                  <c:v>31</c:v>
                </c:pt>
                <c:pt idx="35">
                  <c:v>32</c:v>
                </c:pt>
                <c:pt idx="36">
                  <c:v>33</c:v>
                </c:pt>
                <c:pt idx="37">
                  <c:v>34</c:v>
                </c:pt>
                <c:pt idx="38">
                  <c:v>35</c:v>
                </c:pt>
                <c:pt idx="39">
                  <c:v>36</c:v>
                </c:pt>
                <c:pt idx="40">
                  <c:v>37</c:v>
                </c:pt>
                <c:pt idx="41">
                  <c:v>38</c:v>
                </c:pt>
                <c:pt idx="42">
                  <c:v>39</c:v>
                </c:pt>
                <c:pt idx="43">
                  <c:v>40</c:v>
                </c:pt>
                <c:pt idx="44">
                  <c:v>41</c:v>
                </c:pt>
                <c:pt idx="45">
                  <c:v>42</c:v>
                </c:pt>
                <c:pt idx="46">
                  <c:v>43</c:v>
                </c:pt>
                <c:pt idx="47">
                  <c:v>44</c:v>
                </c:pt>
                <c:pt idx="48">
                  <c:v>45</c:v>
                </c:pt>
                <c:pt idx="49">
                  <c:v>46</c:v>
                </c:pt>
                <c:pt idx="50">
                  <c:v>47</c:v>
                </c:pt>
                <c:pt idx="51">
                  <c:v>48</c:v>
                </c:pt>
                <c:pt idx="52">
                  <c:v>49</c:v>
                </c:pt>
                <c:pt idx="53">
                  <c:v>50</c:v>
                </c:pt>
                <c:pt idx="54">
                  <c:v>51</c:v>
                </c:pt>
                <c:pt idx="55">
                  <c:v>52</c:v>
                </c:pt>
                <c:pt idx="56">
                  <c:v>53</c:v>
                </c:pt>
                <c:pt idx="57">
                  <c:v>54</c:v>
                </c:pt>
                <c:pt idx="58">
                  <c:v>55</c:v>
                </c:pt>
                <c:pt idx="59">
                  <c:v>56</c:v>
                </c:pt>
                <c:pt idx="60">
                  <c:v>57</c:v>
                </c:pt>
                <c:pt idx="61">
                  <c:v>58</c:v>
                </c:pt>
                <c:pt idx="62">
                  <c:v>59</c:v>
                </c:pt>
                <c:pt idx="63">
                  <c:v>60</c:v>
                </c:pt>
                <c:pt idx="64">
                  <c:v>61</c:v>
                </c:pt>
                <c:pt idx="65">
                  <c:v>62</c:v>
                </c:pt>
                <c:pt idx="66">
                  <c:v>63</c:v>
                </c:pt>
                <c:pt idx="67">
                  <c:v>64</c:v>
                </c:pt>
                <c:pt idx="68">
                  <c:v>65</c:v>
                </c:pt>
              </c:numCache>
            </c:numRef>
          </c:cat>
          <c:val>
            <c:numRef>
              <c:f>Sheet1!$B$2:$B$70</c:f>
              <c:numCache>
                <c:formatCode>General</c:formatCode>
                <c:ptCount val="69"/>
                <c:pt idx="0">
                  <c:v>18</c:v>
                </c:pt>
                <c:pt idx="1">
                  <c:v>15</c:v>
                </c:pt>
                <c:pt idx="2">
                  <c:v>12</c:v>
                </c:pt>
                <c:pt idx="3">
                  <c:v>14</c:v>
                </c:pt>
                <c:pt idx="4">
                  <c:v>20</c:v>
                </c:pt>
                <c:pt idx="5">
                  <c:v>35</c:v>
                </c:pt>
                <c:pt idx="6">
                  <c:v>45</c:v>
                </c:pt>
                <c:pt idx="7">
                  <c:v>60</c:v>
                </c:pt>
                <c:pt idx="8">
                  <c:v>62</c:v>
                </c:pt>
                <c:pt idx="9">
                  <c:v>55</c:v>
                </c:pt>
                <c:pt idx="10">
                  <c:v>42</c:v>
                </c:pt>
                <c:pt idx="11">
                  <c:v>38</c:v>
                </c:pt>
                <c:pt idx="12">
                  <c:v>18</c:v>
                </c:pt>
                <c:pt idx="13">
                  <c:v>15</c:v>
                </c:pt>
                <c:pt idx="14">
                  <c:v>14</c:v>
                </c:pt>
                <c:pt idx="15">
                  <c:v>13</c:v>
                </c:pt>
                <c:pt idx="16">
                  <c:v>19</c:v>
                </c:pt>
                <c:pt idx="17">
                  <c:v>25</c:v>
                </c:pt>
                <c:pt idx="18">
                  <c:v>26</c:v>
                </c:pt>
                <c:pt idx="19">
                  <c:v>28</c:v>
                </c:pt>
                <c:pt idx="20">
                  <c:v>35</c:v>
                </c:pt>
                <c:pt idx="21">
                  <c:v>30</c:v>
                </c:pt>
                <c:pt idx="22">
                  <c:v>25</c:v>
                </c:pt>
                <c:pt idx="23">
                  <c:v>24</c:v>
                </c:pt>
                <c:pt idx="24">
                  <c:v>23</c:v>
                </c:pt>
                <c:pt idx="25">
                  <c:v>22</c:v>
                </c:pt>
                <c:pt idx="26">
                  <c:v>21</c:v>
                </c:pt>
                <c:pt idx="27">
                  <c:v>20</c:v>
                </c:pt>
                <c:pt idx="28">
                  <c:v>19</c:v>
                </c:pt>
                <c:pt idx="29">
                  <c:v>18</c:v>
                </c:pt>
                <c:pt idx="30">
                  <c:v>17</c:v>
                </c:pt>
                <c:pt idx="31">
                  <c:v>15</c:v>
                </c:pt>
                <c:pt idx="32">
                  <c:v>13</c:v>
                </c:pt>
                <c:pt idx="33">
                  <c:v>11</c:v>
                </c:pt>
                <c:pt idx="34">
                  <c:v>10</c:v>
                </c:pt>
                <c:pt idx="35">
                  <c:v>9</c:v>
                </c:pt>
                <c:pt idx="36">
                  <c:v>10</c:v>
                </c:pt>
                <c:pt idx="37">
                  <c:v>9</c:v>
                </c:pt>
                <c:pt idx="38">
                  <c:v>10</c:v>
                </c:pt>
                <c:pt idx="39">
                  <c:v>9</c:v>
                </c:pt>
                <c:pt idx="40">
                  <c:v>10</c:v>
                </c:pt>
                <c:pt idx="41">
                  <c:v>15</c:v>
                </c:pt>
                <c:pt idx="42">
                  <c:v>18</c:v>
                </c:pt>
                <c:pt idx="43">
                  <c:v>21</c:v>
                </c:pt>
                <c:pt idx="44">
                  <c:v>23</c:v>
                </c:pt>
                <c:pt idx="45">
                  <c:v>25</c:v>
                </c:pt>
                <c:pt idx="46">
                  <c:v>24</c:v>
                </c:pt>
                <c:pt idx="47">
                  <c:v>25</c:v>
                </c:pt>
                <c:pt idx="48">
                  <c:v>20</c:v>
                </c:pt>
                <c:pt idx="49">
                  <c:v>18</c:v>
                </c:pt>
                <c:pt idx="50">
                  <c:v>15</c:v>
                </c:pt>
                <c:pt idx="51">
                  <c:v>10</c:v>
                </c:pt>
                <c:pt idx="52">
                  <c:v>11</c:v>
                </c:pt>
                <c:pt idx="53">
                  <c:v>12</c:v>
                </c:pt>
                <c:pt idx="54">
                  <c:v>13</c:v>
                </c:pt>
                <c:pt idx="55">
                  <c:v>14</c:v>
                </c:pt>
                <c:pt idx="56">
                  <c:v>15</c:v>
                </c:pt>
                <c:pt idx="57">
                  <c:v>20</c:v>
                </c:pt>
                <c:pt idx="58">
                  <c:v>25</c:v>
                </c:pt>
                <c:pt idx="59">
                  <c:v>26</c:v>
                </c:pt>
                <c:pt idx="60">
                  <c:v>27</c:v>
                </c:pt>
                <c:pt idx="61">
                  <c:v>26</c:v>
                </c:pt>
                <c:pt idx="62">
                  <c:v>27</c:v>
                </c:pt>
                <c:pt idx="63">
                  <c:v>25</c:v>
                </c:pt>
                <c:pt idx="64">
                  <c:v>26</c:v>
                </c:pt>
                <c:pt idx="65">
                  <c:v>27</c:v>
                </c:pt>
                <c:pt idx="66">
                  <c:v>28</c:v>
                </c:pt>
                <c:pt idx="67">
                  <c:v>29</c:v>
                </c:pt>
                <c:pt idx="68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FD-4614-9929-26C37A4ACE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7"/>
        <c:axId val="81196928"/>
        <c:axId val="81198464"/>
      </c:barChart>
      <c:catAx>
        <c:axId val="81196928"/>
        <c:scaling>
          <c:orientation val="maxMin"/>
        </c:scaling>
        <c:delete val="1"/>
        <c:axPos val="b"/>
        <c:numFmt formatCode="General" sourceLinked="1"/>
        <c:majorTickMark val="out"/>
        <c:minorTickMark val="none"/>
        <c:tickLblPos val="none"/>
        <c:crossAx val="81198464"/>
        <c:crosses val="autoZero"/>
        <c:auto val="1"/>
        <c:lblAlgn val="ctr"/>
        <c:lblOffset val="100"/>
        <c:noMultiLvlLbl val="0"/>
      </c:catAx>
      <c:valAx>
        <c:axId val="81198464"/>
        <c:scaling>
          <c:orientation val="minMax"/>
          <c:max val="70"/>
          <c:min val="0"/>
        </c:scaling>
        <c:delete val="1"/>
        <c:axPos val="r"/>
        <c:numFmt formatCode="General" sourceLinked="1"/>
        <c:majorTickMark val="out"/>
        <c:minorTickMark val="none"/>
        <c:tickLblPos val="none"/>
        <c:crossAx val="8119692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7340254256779488E-2"/>
          <c:y val="0.12188256546133773"/>
          <c:w val="0.90243714232468553"/>
          <c:h val="0.71361075621028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درصد واقعی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BA6-4AA2-90CE-A805CD1AEC5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rtl="0">
                  <a:defRPr sz="1100" b="1">
                    <a:solidFill>
                      <a:schemeClr val="bg1"/>
                    </a:solidFill>
                    <a:latin typeface="Calibri" pitchFamily="34" charset="0"/>
                    <a:cs typeface="B Nazanin" pitchFamily="2" charset="-78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4</c:f>
              <c:strCache>
                <c:ptCount val="13"/>
                <c:pt idx="0">
                  <c:v>97-9</c:v>
                </c:pt>
                <c:pt idx="1">
                  <c:v>97-10</c:v>
                </c:pt>
                <c:pt idx="2">
                  <c:v>97-11</c:v>
                </c:pt>
                <c:pt idx="3">
                  <c:v>97-12</c:v>
                </c:pt>
                <c:pt idx="4">
                  <c:v>98-1</c:v>
                </c:pt>
                <c:pt idx="5">
                  <c:v>98-2</c:v>
                </c:pt>
                <c:pt idx="6">
                  <c:v>98-3</c:v>
                </c:pt>
                <c:pt idx="7">
                  <c:v>98-4</c:v>
                </c:pt>
                <c:pt idx="8">
                  <c:v>98-5</c:v>
                </c:pt>
                <c:pt idx="9">
                  <c:v>98-6</c:v>
                </c:pt>
                <c:pt idx="10">
                  <c:v>98-7</c:v>
                </c:pt>
                <c:pt idx="11">
                  <c:v>98-8</c:v>
                </c:pt>
                <c:pt idx="12">
                  <c:v>98-9</c:v>
                </c:pt>
              </c:strCache>
            </c:strRef>
          </c:cat>
          <c:val>
            <c:numRef>
              <c:f>Sheet1!$B$2:$B$14</c:f>
              <c:numCache>
                <c:formatCode>0.0%</c:formatCode>
                <c:ptCount val="13"/>
                <c:pt idx="0">
                  <c:v>0.05</c:v>
                </c:pt>
                <c:pt idx="1">
                  <c:v>0.125</c:v>
                </c:pt>
                <c:pt idx="2">
                  <c:v>0.2</c:v>
                </c:pt>
                <c:pt idx="3">
                  <c:v>0.3</c:v>
                </c:pt>
                <c:pt idx="4">
                  <c:v>0.38300000000000001</c:v>
                </c:pt>
                <c:pt idx="5">
                  <c:v>0.46700000000000003</c:v>
                </c:pt>
                <c:pt idx="6">
                  <c:v>0.55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35-45A2-9859-AC0774116B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91624192"/>
        <c:axId val="9162572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پیشرفت برنامه ای</c:v>
                </c:pt>
              </c:strCache>
            </c:strRef>
          </c:tx>
          <c:spPr>
            <a:ln w="38100">
              <a:solidFill>
                <a:srgbClr val="C0504D"/>
              </a:solidFill>
            </a:ln>
          </c:spPr>
          <c:marker>
            <c:symbol val="circle"/>
            <c:size val="5"/>
            <c:spPr>
              <a:solidFill>
                <a:srgbClr val="C0504D"/>
              </a:solidFill>
              <a:ln w="38100">
                <a:solidFill>
                  <a:srgbClr val="C0504D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 rtl="0">
                  <a:defRPr sz="800" b="1">
                    <a:solidFill>
                      <a:srgbClr val="C0504D"/>
                    </a:solidFill>
                    <a:latin typeface="+mn-lt"/>
                    <a:cs typeface="B Nazanin" panose="00000400000000000000" pitchFamily="2" charset="-78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14</c:f>
              <c:strCache>
                <c:ptCount val="13"/>
                <c:pt idx="0">
                  <c:v>97-9</c:v>
                </c:pt>
                <c:pt idx="1">
                  <c:v>97-10</c:v>
                </c:pt>
                <c:pt idx="2">
                  <c:v>97-11</c:v>
                </c:pt>
                <c:pt idx="3">
                  <c:v>97-12</c:v>
                </c:pt>
                <c:pt idx="4">
                  <c:v>98-1</c:v>
                </c:pt>
                <c:pt idx="5">
                  <c:v>98-2</c:v>
                </c:pt>
                <c:pt idx="6">
                  <c:v>98-3</c:v>
                </c:pt>
                <c:pt idx="7">
                  <c:v>98-4</c:v>
                </c:pt>
                <c:pt idx="8">
                  <c:v>98-5</c:v>
                </c:pt>
                <c:pt idx="9">
                  <c:v>98-6</c:v>
                </c:pt>
                <c:pt idx="10">
                  <c:v>98-7</c:v>
                </c:pt>
                <c:pt idx="11">
                  <c:v>98-8</c:v>
                </c:pt>
                <c:pt idx="12">
                  <c:v>98-9</c:v>
                </c:pt>
              </c:strCache>
            </c:strRef>
          </c:cat>
          <c:val>
            <c:numRef>
              <c:f>Sheet1!$C$2:$C$14</c:f>
              <c:numCache>
                <c:formatCode>0.0%</c:formatCode>
                <c:ptCount val="13"/>
                <c:pt idx="0">
                  <c:v>0.05</c:v>
                </c:pt>
                <c:pt idx="1">
                  <c:v>0.125</c:v>
                </c:pt>
                <c:pt idx="2">
                  <c:v>0.2</c:v>
                </c:pt>
                <c:pt idx="3">
                  <c:v>0.3</c:v>
                </c:pt>
                <c:pt idx="4">
                  <c:v>0.38329999999999997</c:v>
                </c:pt>
                <c:pt idx="5">
                  <c:v>0.46659999999999996</c:v>
                </c:pt>
                <c:pt idx="6">
                  <c:v>0.54989999999999994</c:v>
                </c:pt>
                <c:pt idx="7">
                  <c:v>0.63169999999999993</c:v>
                </c:pt>
                <c:pt idx="8">
                  <c:v>0.71349999999999991</c:v>
                </c:pt>
                <c:pt idx="9">
                  <c:v>0.7952999999999999</c:v>
                </c:pt>
                <c:pt idx="10">
                  <c:v>0.87709999999999988</c:v>
                </c:pt>
                <c:pt idx="11">
                  <c:v>0.95889999999999986</c:v>
                </c:pt>
                <c:pt idx="12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35-45A2-9859-AC0774116B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1624192"/>
        <c:axId val="91625728"/>
      </c:lineChart>
      <c:catAx>
        <c:axId val="91624192"/>
        <c:scaling>
          <c:orientation val="minMax"/>
        </c:scaling>
        <c:delete val="0"/>
        <c:axPos val="b"/>
        <c:numFmt formatCode="@" sourceLinked="0"/>
        <c:majorTickMark val="out"/>
        <c:minorTickMark val="none"/>
        <c:tickLblPos val="nextTo"/>
        <c:txPr>
          <a:bodyPr/>
          <a:lstStyle/>
          <a:p>
            <a:pPr rtl="0">
              <a:lnSpc>
                <a:spcPct val="60000"/>
              </a:lnSpc>
              <a:defRPr sz="850" b="1" spc="-60" baseline="0">
                <a:cs typeface="B Nazanin" pitchFamily="2" charset="-78"/>
              </a:defRPr>
            </a:pPr>
            <a:endParaRPr lang="en-US"/>
          </a:p>
        </c:txPr>
        <c:crossAx val="91625728"/>
        <c:crosses val="autoZero"/>
        <c:auto val="1"/>
        <c:lblAlgn val="ctr"/>
        <c:lblOffset val="100"/>
        <c:noMultiLvlLbl val="0"/>
      </c:catAx>
      <c:valAx>
        <c:axId val="91625728"/>
        <c:scaling>
          <c:orientation val="minMax"/>
          <c:max val="1"/>
          <c:min val="0"/>
        </c:scaling>
        <c:delete val="0"/>
        <c:axPos val="l"/>
        <c:majorGridlines>
          <c:spPr>
            <a:ln w="28575">
              <a:solidFill>
                <a:schemeClr val="bg1"/>
              </a:solidFill>
            </a:ln>
          </c:spPr>
        </c:majorGridlines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000" b="1"/>
            </a:pPr>
            <a:endParaRPr lang="en-US"/>
          </a:p>
        </c:txPr>
        <c:crossAx val="91624192"/>
        <c:crosses val="autoZero"/>
        <c:crossBetween val="between"/>
        <c:majorUnit val="0.2"/>
      </c:valAx>
      <c:spPr>
        <a:solidFill>
          <a:srgbClr val="7DC7FF"/>
        </a:solidFill>
        <a:ln>
          <a:noFill/>
        </a:ln>
      </c:spPr>
    </c:plotArea>
    <c:legend>
      <c:legendPos val="t"/>
      <c:layout>
        <c:manualLayout>
          <c:xMode val="edge"/>
          <c:yMode val="edge"/>
          <c:x val="0.2476419763350739"/>
          <c:y val="0"/>
          <c:w val="0.51076675761353463"/>
          <c:h val="0.10865167942661501"/>
        </c:manualLayout>
      </c:layout>
      <c:overlay val="0"/>
      <c:txPr>
        <a:bodyPr/>
        <a:lstStyle/>
        <a:p>
          <a:pPr>
            <a:defRPr sz="900" b="1">
              <a:cs typeface="B Nazanin" panose="00000400000000000000" pitchFamily="2" charset="-78"/>
            </a:defRPr>
          </a:pPr>
          <a:endParaRPr lang="en-US"/>
        </a:p>
      </c:txPr>
    </c:legend>
    <c:plotVisOnly val="1"/>
    <c:dispBlanksAs val="gap"/>
    <c:showDLblsOverMax val="0"/>
  </c:chart>
  <c:spPr>
    <a:ln w="28575"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7340254256779488E-2"/>
          <c:y val="0.12188256546133773"/>
          <c:w val="0.90243714232468553"/>
          <c:h val="0.71361075621028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درصد واقعی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BA6-4AA2-90CE-A805CD1AEC5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rtl="0">
                  <a:defRPr sz="1100" b="1">
                    <a:solidFill>
                      <a:schemeClr val="bg1"/>
                    </a:solidFill>
                    <a:latin typeface="Calibri" pitchFamily="34" charset="0"/>
                    <a:cs typeface="B Nazanin" pitchFamily="2" charset="-78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97-8</c:v>
                </c:pt>
                <c:pt idx="1">
                  <c:v>97-9</c:v>
                </c:pt>
                <c:pt idx="2">
                  <c:v>97-10</c:v>
                </c:pt>
                <c:pt idx="3">
                  <c:v>97-11</c:v>
                </c:pt>
                <c:pt idx="4">
                  <c:v>97-12</c:v>
                </c:pt>
                <c:pt idx="5">
                  <c:v>98-1</c:v>
                </c:pt>
                <c:pt idx="6">
                  <c:v>98-2</c:v>
                </c:pt>
              </c:strCache>
            </c:strRef>
          </c:cat>
          <c:val>
            <c:numRef>
              <c:f>Sheet1!$B$2:$B$8</c:f>
              <c:numCache>
                <c:formatCode>0.0%</c:formatCode>
                <c:ptCount val="7"/>
                <c:pt idx="1">
                  <c:v>0.1</c:v>
                </c:pt>
                <c:pt idx="2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35-45A2-9859-AC0774116B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100541568"/>
        <c:axId val="10054310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پیشرفت برنامه ای</c:v>
                </c:pt>
              </c:strCache>
            </c:strRef>
          </c:tx>
          <c:spPr>
            <a:ln w="38100">
              <a:solidFill>
                <a:srgbClr val="C0504D"/>
              </a:solidFill>
            </a:ln>
          </c:spPr>
          <c:marker>
            <c:symbol val="circle"/>
            <c:size val="5"/>
            <c:spPr>
              <a:solidFill>
                <a:srgbClr val="C0504D"/>
              </a:solidFill>
              <a:ln w="38100">
                <a:solidFill>
                  <a:srgbClr val="C0504D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 rtl="0">
                  <a:defRPr sz="800" b="1">
                    <a:solidFill>
                      <a:srgbClr val="C0504D"/>
                    </a:solidFill>
                    <a:latin typeface="+mn-lt"/>
                    <a:cs typeface="B Nazanin" panose="00000400000000000000" pitchFamily="2" charset="-78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8</c:f>
              <c:strCache>
                <c:ptCount val="7"/>
                <c:pt idx="0">
                  <c:v>97-8</c:v>
                </c:pt>
                <c:pt idx="1">
                  <c:v>97-9</c:v>
                </c:pt>
                <c:pt idx="2">
                  <c:v>97-10</c:v>
                </c:pt>
                <c:pt idx="3">
                  <c:v>97-11</c:v>
                </c:pt>
                <c:pt idx="4">
                  <c:v>97-12</c:v>
                </c:pt>
                <c:pt idx="5">
                  <c:v>98-1</c:v>
                </c:pt>
                <c:pt idx="6">
                  <c:v>98-2</c:v>
                </c:pt>
              </c:strCache>
            </c:strRef>
          </c:cat>
          <c:val>
            <c:numRef>
              <c:f>Sheet1!$C$2:$C$8</c:f>
              <c:numCache>
                <c:formatCode>0.0%</c:formatCode>
                <c:ptCount val="7"/>
                <c:pt idx="0">
                  <c:v>0</c:v>
                </c:pt>
                <c:pt idx="1">
                  <c:v>0.1</c:v>
                </c:pt>
                <c:pt idx="2">
                  <c:v>0.25</c:v>
                </c:pt>
                <c:pt idx="3">
                  <c:v>0.4</c:v>
                </c:pt>
                <c:pt idx="4">
                  <c:v>0.55000000000000004</c:v>
                </c:pt>
                <c:pt idx="5">
                  <c:v>0.75</c:v>
                </c:pt>
                <c:pt idx="6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35-45A2-9859-AC0774116B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0541568"/>
        <c:axId val="100543104"/>
      </c:lineChart>
      <c:catAx>
        <c:axId val="100541568"/>
        <c:scaling>
          <c:orientation val="minMax"/>
        </c:scaling>
        <c:delete val="0"/>
        <c:axPos val="b"/>
        <c:numFmt formatCode="@" sourceLinked="0"/>
        <c:majorTickMark val="out"/>
        <c:minorTickMark val="none"/>
        <c:tickLblPos val="nextTo"/>
        <c:txPr>
          <a:bodyPr/>
          <a:lstStyle/>
          <a:p>
            <a:pPr rtl="0">
              <a:lnSpc>
                <a:spcPct val="60000"/>
              </a:lnSpc>
              <a:defRPr sz="850" b="1" spc="-60" baseline="0">
                <a:cs typeface="B Nazanin" pitchFamily="2" charset="-78"/>
              </a:defRPr>
            </a:pPr>
            <a:endParaRPr lang="en-US"/>
          </a:p>
        </c:txPr>
        <c:crossAx val="100543104"/>
        <c:crosses val="autoZero"/>
        <c:auto val="1"/>
        <c:lblAlgn val="ctr"/>
        <c:lblOffset val="100"/>
        <c:noMultiLvlLbl val="0"/>
      </c:catAx>
      <c:valAx>
        <c:axId val="100543104"/>
        <c:scaling>
          <c:orientation val="minMax"/>
          <c:max val="1"/>
          <c:min val="0"/>
        </c:scaling>
        <c:delete val="0"/>
        <c:axPos val="l"/>
        <c:majorGridlines>
          <c:spPr>
            <a:ln w="28575">
              <a:solidFill>
                <a:schemeClr val="bg1"/>
              </a:solidFill>
            </a:ln>
          </c:spPr>
        </c:majorGridlines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000" b="1"/>
            </a:pPr>
            <a:endParaRPr lang="en-US"/>
          </a:p>
        </c:txPr>
        <c:crossAx val="100541568"/>
        <c:crosses val="autoZero"/>
        <c:crossBetween val="between"/>
        <c:majorUnit val="0.2"/>
      </c:valAx>
      <c:spPr>
        <a:solidFill>
          <a:srgbClr val="7DC7FF"/>
        </a:solidFill>
        <a:ln>
          <a:noFill/>
        </a:ln>
      </c:spPr>
    </c:plotArea>
    <c:legend>
      <c:legendPos val="t"/>
      <c:layout>
        <c:manualLayout>
          <c:xMode val="edge"/>
          <c:yMode val="edge"/>
          <c:x val="0.2476419763350739"/>
          <c:y val="0"/>
          <c:w val="0.51076675761353463"/>
          <c:h val="0.10865167942661501"/>
        </c:manualLayout>
      </c:layout>
      <c:overlay val="0"/>
      <c:txPr>
        <a:bodyPr/>
        <a:lstStyle/>
        <a:p>
          <a:pPr>
            <a:defRPr sz="900" b="1">
              <a:cs typeface="B Nazanin" panose="00000400000000000000" pitchFamily="2" charset="-78"/>
            </a:defRPr>
          </a:pPr>
          <a:endParaRPr lang="en-US"/>
        </a:p>
      </c:txPr>
    </c:legend>
    <c:plotVisOnly val="1"/>
    <c:dispBlanksAs val="gap"/>
    <c:showDLblsOverMax val="0"/>
  </c:chart>
  <c:spPr>
    <a:ln w="28575"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7340254256779488E-2"/>
          <c:y val="0.12188256546133773"/>
          <c:w val="0.90243714232468553"/>
          <c:h val="0.71361075621028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درصد واقعی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BA6-4AA2-90CE-A805CD1AEC5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rtl="0">
                  <a:defRPr sz="1100" b="1">
                    <a:solidFill>
                      <a:schemeClr val="bg1"/>
                    </a:solidFill>
                    <a:latin typeface="Calibri" pitchFamily="34" charset="0"/>
                    <a:cs typeface="B Nazanin" pitchFamily="2" charset="-78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97-08</c:v>
                </c:pt>
                <c:pt idx="1">
                  <c:v>97-9</c:v>
                </c:pt>
                <c:pt idx="2">
                  <c:v>97-10</c:v>
                </c:pt>
                <c:pt idx="3">
                  <c:v>97-11</c:v>
                </c:pt>
                <c:pt idx="4">
                  <c:v>97-12</c:v>
                </c:pt>
                <c:pt idx="5">
                  <c:v>98-1</c:v>
                </c:pt>
                <c:pt idx="6">
                  <c:v>98-2</c:v>
                </c:pt>
                <c:pt idx="7">
                  <c:v>98-3</c:v>
                </c:pt>
                <c:pt idx="8">
                  <c:v>98-4</c:v>
                </c:pt>
                <c:pt idx="9">
                  <c:v>98-5</c:v>
                </c:pt>
              </c:strCache>
            </c:strRef>
          </c:cat>
          <c:val>
            <c:numRef>
              <c:f>Sheet1!$B$2:$B$11</c:f>
              <c:numCache>
                <c:formatCode>0.0%</c:formatCode>
                <c:ptCount val="10"/>
                <c:pt idx="1">
                  <c:v>0.05</c:v>
                </c:pt>
                <c:pt idx="2">
                  <c:v>0.15</c:v>
                </c:pt>
                <c:pt idx="3">
                  <c:v>0.27500000000000002</c:v>
                </c:pt>
                <c:pt idx="4">
                  <c:v>0.35</c:v>
                </c:pt>
                <c:pt idx="5">
                  <c:v>0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35-45A2-9859-AC0774116B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107914752"/>
        <c:axId val="107916288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پیشرفت برنامه ای</c:v>
                </c:pt>
              </c:strCache>
            </c:strRef>
          </c:tx>
          <c:spPr>
            <a:ln w="38100">
              <a:solidFill>
                <a:srgbClr val="C0504D"/>
              </a:solidFill>
            </a:ln>
          </c:spPr>
          <c:marker>
            <c:symbol val="circle"/>
            <c:size val="5"/>
            <c:spPr>
              <a:solidFill>
                <a:srgbClr val="C0504D"/>
              </a:solidFill>
              <a:ln w="38100">
                <a:solidFill>
                  <a:srgbClr val="C0504D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 rtl="0">
                  <a:defRPr sz="800" b="1">
                    <a:solidFill>
                      <a:srgbClr val="C0504D"/>
                    </a:solidFill>
                    <a:latin typeface="+mn-lt"/>
                    <a:cs typeface="B Nazanin" panose="00000400000000000000" pitchFamily="2" charset="-78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11</c:f>
              <c:strCache>
                <c:ptCount val="10"/>
                <c:pt idx="0">
                  <c:v>97-08</c:v>
                </c:pt>
                <c:pt idx="1">
                  <c:v>97-9</c:v>
                </c:pt>
                <c:pt idx="2">
                  <c:v>97-10</c:v>
                </c:pt>
                <c:pt idx="3">
                  <c:v>97-11</c:v>
                </c:pt>
                <c:pt idx="4">
                  <c:v>97-12</c:v>
                </c:pt>
                <c:pt idx="5">
                  <c:v>98-1</c:v>
                </c:pt>
                <c:pt idx="6">
                  <c:v>98-2</c:v>
                </c:pt>
                <c:pt idx="7">
                  <c:v>98-3</c:v>
                </c:pt>
                <c:pt idx="8">
                  <c:v>98-4</c:v>
                </c:pt>
                <c:pt idx="9">
                  <c:v>98-5</c:v>
                </c:pt>
              </c:strCache>
            </c:strRef>
          </c:cat>
          <c:val>
            <c:numRef>
              <c:f>Sheet1!$C$2:$C$11</c:f>
              <c:numCache>
                <c:formatCode>0.0%</c:formatCode>
                <c:ptCount val="10"/>
                <c:pt idx="0">
                  <c:v>0</c:v>
                </c:pt>
                <c:pt idx="1">
                  <c:v>0.1</c:v>
                </c:pt>
                <c:pt idx="2">
                  <c:v>0.2</c:v>
                </c:pt>
                <c:pt idx="3">
                  <c:v>0.27500000000000002</c:v>
                </c:pt>
                <c:pt idx="4">
                  <c:v>0.35</c:v>
                </c:pt>
                <c:pt idx="5">
                  <c:v>0.5</c:v>
                </c:pt>
                <c:pt idx="6">
                  <c:v>0.65</c:v>
                </c:pt>
                <c:pt idx="7">
                  <c:v>0.8</c:v>
                </c:pt>
                <c:pt idx="8">
                  <c:v>0.9</c:v>
                </c:pt>
                <c:pt idx="9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35-45A2-9859-AC0774116B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7914752"/>
        <c:axId val="107916288"/>
      </c:lineChart>
      <c:catAx>
        <c:axId val="107914752"/>
        <c:scaling>
          <c:orientation val="minMax"/>
        </c:scaling>
        <c:delete val="0"/>
        <c:axPos val="b"/>
        <c:numFmt formatCode="@" sourceLinked="0"/>
        <c:majorTickMark val="out"/>
        <c:minorTickMark val="none"/>
        <c:tickLblPos val="nextTo"/>
        <c:txPr>
          <a:bodyPr/>
          <a:lstStyle/>
          <a:p>
            <a:pPr rtl="0">
              <a:lnSpc>
                <a:spcPct val="60000"/>
              </a:lnSpc>
              <a:defRPr sz="850" b="1" spc="-60" baseline="0">
                <a:cs typeface="B Nazanin" pitchFamily="2" charset="-78"/>
              </a:defRPr>
            </a:pPr>
            <a:endParaRPr lang="en-US"/>
          </a:p>
        </c:txPr>
        <c:crossAx val="107916288"/>
        <c:crosses val="autoZero"/>
        <c:auto val="1"/>
        <c:lblAlgn val="ctr"/>
        <c:lblOffset val="100"/>
        <c:noMultiLvlLbl val="0"/>
      </c:catAx>
      <c:valAx>
        <c:axId val="107916288"/>
        <c:scaling>
          <c:orientation val="minMax"/>
          <c:max val="1"/>
          <c:min val="0"/>
        </c:scaling>
        <c:delete val="0"/>
        <c:axPos val="l"/>
        <c:majorGridlines>
          <c:spPr>
            <a:ln w="28575">
              <a:solidFill>
                <a:schemeClr val="bg1"/>
              </a:solidFill>
            </a:ln>
          </c:spPr>
        </c:majorGridlines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000" b="1"/>
            </a:pPr>
            <a:endParaRPr lang="en-US"/>
          </a:p>
        </c:txPr>
        <c:crossAx val="107914752"/>
        <c:crosses val="autoZero"/>
        <c:crossBetween val="between"/>
        <c:majorUnit val="0.2"/>
      </c:valAx>
      <c:spPr>
        <a:solidFill>
          <a:srgbClr val="7DC7FF"/>
        </a:solidFill>
        <a:ln>
          <a:noFill/>
        </a:ln>
      </c:spPr>
    </c:plotArea>
    <c:legend>
      <c:legendPos val="t"/>
      <c:layout>
        <c:manualLayout>
          <c:xMode val="edge"/>
          <c:yMode val="edge"/>
          <c:x val="0.2476419763350739"/>
          <c:y val="0"/>
          <c:w val="0.51076675761353463"/>
          <c:h val="0.10865167942661501"/>
        </c:manualLayout>
      </c:layout>
      <c:overlay val="0"/>
      <c:txPr>
        <a:bodyPr/>
        <a:lstStyle/>
        <a:p>
          <a:pPr>
            <a:defRPr sz="900" b="1">
              <a:cs typeface="B Nazanin" panose="00000400000000000000" pitchFamily="2" charset="-78"/>
            </a:defRPr>
          </a:pPr>
          <a:endParaRPr lang="en-US"/>
        </a:p>
      </c:txPr>
    </c:legend>
    <c:plotVisOnly val="1"/>
    <c:dispBlanksAs val="gap"/>
    <c:showDLblsOverMax val="0"/>
  </c:chart>
  <c:spPr>
    <a:ln w="28575"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7340254256779488E-2"/>
          <c:y val="0.12188256546133773"/>
          <c:w val="0.90243714232468553"/>
          <c:h val="0.71361075621028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درصد واقعی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BA6-4AA2-90CE-A805CD1AEC5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rtl="0">
                  <a:defRPr sz="1100" b="1">
                    <a:solidFill>
                      <a:schemeClr val="bg1"/>
                    </a:solidFill>
                    <a:latin typeface="Calibri" pitchFamily="34" charset="0"/>
                    <a:cs typeface="B Nazanin" pitchFamily="2" charset="-78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97-09</c:v>
                </c:pt>
                <c:pt idx="1">
                  <c:v>97-10</c:v>
                </c:pt>
                <c:pt idx="2">
                  <c:v>97-11</c:v>
                </c:pt>
                <c:pt idx="3">
                  <c:v>97-12</c:v>
                </c:pt>
                <c:pt idx="4">
                  <c:v>98-1</c:v>
                </c:pt>
                <c:pt idx="5">
                  <c:v>98-2</c:v>
                </c:pt>
                <c:pt idx="6">
                  <c:v>98-3</c:v>
                </c:pt>
                <c:pt idx="7">
                  <c:v>98-4</c:v>
                </c:pt>
                <c:pt idx="8">
                  <c:v>98-5</c:v>
                </c:pt>
                <c:pt idx="9">
                  <c:v>98-6</c:v>
                </c:pt>
              </c:strCache>
            </c:strRef>
          </c:cat>
          <c:val>
            <c:numRef>
              <c:f>Sheet1!$B$2:$B$11</c:f>
              <c:numCache>
                <c:formatCode>0.0%</c:formatCode>
                <c:ptCount val="10"/>
                <c:pt idx="1">
                  <c:v>0.15</c:v>
                </c:pt>
                <c:pt idx="2">
                  <c:v>0.11</c:v>
                </c:pt>
                <c:pt idx="3">
                  <c:v>0.15</c:v>
                </c:pt>
                <c:pt idx="4">
                  <c:v>0.3</c:v>
                </c:pt>
                <c:pt idx="5">
                  <c:v>0.45</c:v>
                </c:pt>
                <c:pt idx="6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35-45A2-9859-AC0774116B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119854976"/>
        <c:axId val="11985651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پیشرفت برنامه ای</c:v>
                </c:pt>
              </c:strCache>
            </c:strRef>
          </c:tx>
          <c:spPr>
            <a:ln w="38100">
              <a:solidFill>
                <a:srgbClr val="C0504D"/>
              </a:solidFill>
            </a:ln>
          </c:spPr>
          <c:marker>
            <c:symbol val="circle"/>
            <c:size val="5"/>
            <c:spPr>
              <a:solidFill>
                <a:srgbClr val="C0504D"/>
              </a:solidFill>
              <a:ln w="38100">
                <a:solidFill>
                  <a:srgbClr val="C0504D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 rtl="0">
                  <a:defRPr sz="800" b="1">
                    <a:solidFill>
                      <a:srgbClr val="C0504D"/>
                    </a:solidFill>
                    <a:latin typeface="+mn-lt"/>
                    <a:cs typeface="B Nazanin" panose="00000400000000000000" pitchFamily="2" charset="-78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11</c:f>
              <c:strCache>
                <c:ptCount val="10"/>
                <c:pt idx="0">
                  <c:v>97-09</c:v>
                </c:pt>
                <c:pt idx="1">
                  <c:v>97-10</c:v>
                </c:pt>
                <c:pt idx="2">
                  <c:v>97-11</c:v>
                </c:pt>
                <c:pt idx="3">
                  <c:v>97-12</c:v>
                </c:pt>
                <c:pt idx="4">
                  <c:v>98-1</c:v>
                </c:pt>
                <c:pt idx="5">
                  <c:v>98-2</c:v>
                </c:pt>
                <c:pt idx="6">
                  <c:v>98-3</c:v>
                </c:pt>
                <c:pt idx="7">
                  <c:v>98-4</c:v>
                </c:pt>
                <c:pt idx="8">
                  <c:v>98-5</c:v>
                </c:pt>
                <c:pt idx="9">
                  <c:v>98-6</c:v>
                </c:pt>
              </c:strCache>
            </c:strRef>
          </c:cat>
          <c:val>
            <c:numRef>
              <c:f>Sheet1!$C$2:$C$11</c:f>
              <c:numCache>
                <c:formatCode>0.0%</c:formatCode>
                <c:ptCount val="10"/>
                <c:pt idx="0">
                  <c:v>0</c:v>
                </c:pt>
                <c:pt idx="1">
                  <c:v>7.0000000000000007E-2</c:v>
                </c:pt>
                <c:pt idx="2">
                  <c:v>0.11</c:v>
                </c:pt>
                <c:pt idx="3">
                  <c:v>0.15</c:v>
                </c:pt>
                <c:pt idx="4">
                  <c:v>0.3</c:v>
                </c:pt>
                <c:pt idx="5">
                  <c:v>0.45</c:v>
                </c:pt>
                <c:pt idx="6">
                  <c:v>0.6</c:v>
                </c:pt>
                <c:pt idx="7">
                  <c:v>0.72499999999999998</c:v>
                </c:pt>
                <c:pt idx="8">
                  <c:v>0.85</c:v>
                </c:pt>
                <c:pt idx="9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35-45A2-9859-AC0774116B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9854976"/>
        <c:axId val="119856512"/>
      </c:lineChart>
      <c:catAx>
        <c:axId val="119854976"/>
        <c:scaling>
          <c:orientation val="minMax"/>
        </c:scaling>
        <c:delete val="0"/>
        <c:axPos val="b"/>
        <c:numFmt formatCode="@" sourceLinked="0"/>
        <c:majorTickMark val="out"/>
        <c:minorTickMark val="none"/>
        <c:tickLblPos val="nextTo"/>
        <c:txPr>
          <a:bodyPr/>
          <a:lstStyle/>
          <a:p>
            <a:pPr rtl="0">
              <a:lnSpc>
                <a:spcPct val="60000"/>
              </a:lnSpc>
              <a:defRPr sz="850" b="1" spc="-60" baseline="0">
                <a:cs typeface="B Nazanin" pitchFamily="2" charset="-78"/>
              </a:defRPr>
            </a:pPr>
            <a:endParaRPr lang="en-US"/>
          </a:p>
        </c:txPr>
        <c:crossAx val="119856512"/>
        <c:crosses val="autoZero"/>
        <c:auto val="1"/>
        <c:lblAlgn val="ctr"/>
        <c:lblOffset val="100"/>
        <c:noMultiLvlLbl val="0"/>
      </c:catAx>
      <c:valAx>
        <c:axId val="119856512"/>
        <c:scaling>
          <c:orientation val="minMax"/>
          <c:max val="1"/>
          <c:min val="0"/>
        </c:scaling>
        <c:delete val="0"/>
        <c:axPos val="l"/>
        <c:majorGridlines>
          <c:spPr>
            <a:ln w="28575">
              <a:solidFill>
                <a:schemeClr val="bg1"/>
              </a:solidFill>
            </a:ln>
          </c:spPr>
        </c:majorGridlines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000" b="1"/>
            </a:pPr>
            <a:endParaRPr lang="en-US"/>
          </a:p>
        </c:txPr>
        <c:crossAx val="119854976"/>
        <c:crosses val="autoZero"/>
        <c:crossBetween val="between"/>
        <c:majorUnit val="0.2"/>
      </c:valAx>
      <c:spPr>
        <a:solidFill>
          <a:srgbClr val="7DC7FF"/>
        </a:solidFill>
        <a:ln>
          <a:noFill/>
        </a:ln>
      </c:spPr>
    </c:plotArea>
    <c:legend>
      <c:legendPos val="t"/>
      <c:layout>
        <c:manualLayout>
          <c:xMode val="edge"/>
          <c:yMode val="edge"/>
          <c:x val="0.2476419763350739"/>
          <c:y val="0"/>
          <c:w val="0.51076675761353463"/>
          <c:h val="0.10865167942661501"/>
        </c:manualLayout>
      </c:layout>
      <c:overlay val="0"/>
      <c:txPr>
        <a:bodyPr/>
        <a:lstStyle/>
        <a:p>
          <a:pPr>
            <a:defRPr sz="900" b="1">
              <a:cs typeface="B Nazanin" panose="00000400000000000000" pitchFamily="2" charset="-78"/>
            </a:defRPr>
          </a:pPr>
          <a:endParaRPr lang="en-US"/>
        </a:p>
      </c:txPr>
    </c:legend>
    <c:plotVisOnly val="1"/>
    <c:dispBlanksAs val="gap"/>
    <c:showDLblsOverMax val="0"/>
  </c:chart>
  <c:spPr>
    <a:ln w="28575"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7340254256779488E-2"/>
          <c:y val="0.12188256546133773"/>
          <c:w val="0.90243714232468553"/>
          <c:h val="0.713610756210288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درصد واقعی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BA6-4AA2-90CE-A805CD1AEC5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rtl="0">
                  <a:defRPr sz="1100" b="1">
                    <a:solidFill>
                      <a:schemeClr val="bg1"/>
                    </a:solidFill>
                    <a:latin typeface="Calibri" pitchFamily="34" charset="0"/>
                    <a:cs typeface="B Nazanin" pitchFamily="2" charset="-78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4</c:f>
              <c:strCache>
                <c:ptCount val="13"/>
                <c:pt idx="0">
                  <c:v>97-08</c:v>
                </c:pt>
                <c:pt idx="1">
                  <c:v>97-09</c:v>
                </c:pt>
                <c:pt idx="2">
                  <c:v>97-10</c:v>
                </c:pt>
                <c:pt idx="3">
                  <c:v>97-11</c:v>
                </c:pt>
                <c:pt idx="4">
                  <c:v>97-12</c:v>
                </c:pt>
                <c:pt idx="5">
                  <c:v>98-1</c:v>
                </c:pt>
                <c:pt idx="6">
                  <c:v>98-2</c:v>
                </c:pt>
                <c:pt idx="7">
                  <c:v>98-3</c:v>
                </c:pt>
                <c:pt idx="8">
                  <c:v>98-4</c:v>
                </c:pt>
                <c:pt idx="9">
                  <c:v>98-5</c:v>
                </c:pt>
                <c:pt idx="10">
                  <c:v>98-6</c:v>
                </c:pt>
                <c:pt idx="11">
                  <c:v>98-7</c:v>
                </c:pt>
                <c:pt idx="12">
                  <c:v>98-8</c:v>
                </c:pt>
              </c:strCache>
            </c:strRef>
          </c:cat>
          <c:val>
            <c:numRef>
              <c:f>Sheet1!$B$2:$B$14</c:f>
              <c:numCache>
                <c:formatCode>0.0%</c:formatCode>
                <c:ptCount val="13"/>
                <c:pt idx="0">
                  <c:v>0</c:v>
                </c:pt>
                <c:pt idx="1">
                  <c:v>0.05</c:v>
                </c:pt>
                <c:pt idx="2">
                  <c:v>0.2</c:v>
                </c:pt>
                <c:pt idx="3">
                  <c:v>0.25</c:v>
                </c:pt>
                <c:pt idx="4">
                  <c:v>0.35</c:v>
                </c:pt>
                <c:pt idx="5">
                  <c:v>0.441</c:v>
                </c:pt>
                <c:pt idx="6">
                  <c:v>0.53200000000000003</c:v>
                </c:pt>
                <c:pt idx="7">
                  <c:v>0.623</c:v>
                </c:pt>
                <c:pt idx="8">
                  <c:v>0.71399999999999997</c:v>
                </c:pt>
                <c:pt idx="9">
                  <c:v>0.80500000000000005</c:v>
                </c:pt>
                <c:pt idx="10">
                  <c:v>0.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35-45A2-9859-AC0774116B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120998144"/>
        <c:axId val="121016320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پیشرفت برنامه ای</c:v>
                </c:pt>
              </c:strCache>
            </c:strRef>
          </c:tx>
          <c:spPr>
            <a:ln w="38100">
              <a:solidFill>
                <a:srgbClr val="C0504D"/>
              </a:solidFill>
            </a:ln>
          </c:spPr>
          <c:marker>
            <c:symbol val="circle"/>
            <c:size val="5"/>
            <c:spPr>
              <a:solidFill>
                <a:srgbClr val="C0504D"/>
              </a:solidFill>
              <a:ln w="38100">
                <a:solidFill>
                  <a:srgbClr val="C0504D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 rtl="0">
                  <a:defRPr sz="800" b="1">
                    <a:solidFill>
                      <a:srgbClr val="C0504D"/>
                    </a:solidFill>
                    <a:latin typeface="+mn-lt"/>
                    <a:cs typeface="B Nazanin" panose="00000400000000000000" pitchFamily="2" charset="-78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Sheet1!$A$2:$A$14</c:f>
              <c:strCache>
                <c:ptCount val="13"/>
                <c:pt idx="0">
                  <c:v>97-08</c:v>
                </c:pt>
                <c:pt idx="1">
                  <c:v>97-09</c:v>
                </c:pt>
                <c:pt idx="2">
                  <c:v>97-10</c:v>
                </c:pt>
                <c:pt idx="3">
                  <c:v>97-11</c:v>
                </c:pt>
                <c:pt idx="4">
                  <c:v>97-12</c:v>
                </c:pt>
                <c:pt idx="5">
                  <c:v>98-1</c:v>
                </c:pt>
                <c:pt idx="6">
                  <c:v>98-2</c:v>
                </c:pt>
                <c:pt idx="7">
                  <c:v>98-3</c:v>
                </c:pt>
                <c:pt idx="8">
                  <c:v>98-4</c:v>
                </c:pt>
                <c:pt idx="9">
                  <c:v>98-5</c:v>
                </c:pt>
                <c:pt idx="10">
                  <c:v>98-6</c:v>
                </c:pt>
                <c:pt idx="11">
                  <c:v>98-7</c:v>
                </c:pt>
                <c:pt idx="12">
                  <c:v>98-8</c:v>
                </c:pt>
              </c:strCache>
            </c:strRef>
          </c:cat>
          <c:val>
            <c:numRef>
              <c:f>Sheet1!$C$2:$C$14</c:f>
              <c:numCache>
                <c:formatCode>0.0%</c:formatCode>
                <c:ptCount val="13"/>
                <c:pt idx="0">
                  <c:v>0</c:v>
                </c:pt>
                <c:pt idx="1">
                  <c:v>0.05</c:v>
                </c:pt>
                <c:pt idx="2">
                  <c:v>0.15</c:v>
                </c:pt>
                <c:pt idx="3">
                  <c:v>0.25</c:v>
                </c:pt>
                <c:pt idx="4">
                  <c:v>0.35</c:v>
                </c:pt>
                <c:pt idx="5">
                  <c:v>0.44099999999999995</c:v>
                </c:pt>
                <c:pt idx="6">
                  <c:v>0.53199999999999992</c:v>
                </c:pt>
                <c:pt idx="7">
                  <c:v>0.62299999999999989</c:v>
                </c:pt>
                <c:pt idx="8">
                  <c:v>0.71399999999999986</c:v>
                </c:pt>
                <c:pt idx="9">
                  <c:v>0.80499999999999983</c:v>
                </c:pt>
                <c:pt idx="10">
                  <c:v>0.9</c:v>
                </c:pt>
                <c:pt idx="11">
                  <c:v>0.95</c:v>
                </c:pt>
                <c:pt idx="12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35-45A2-9859-AC0774116B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0998144"/>
        <c:axId val="121016320"/>
      </c:lineChart>
      <c:catAx>
        <c:axId val="120998144"/>
        <c:scaling>
          <c:orientation val="minMax"/>
        </c:scaling>
        <c:delete val="0"/>
        <c:axPos val="b"/>
        <c:numFmt formatCode="@" sourceLinked="0"/>
        <c:majorTickMark val="out"/>
        <c:minorTickMark val="none"/>
        <c:tickLblPos val="nextTo"/>
        <c:txPr>
          <a:bodyPr/>
          <a:lstStyle/>
          <a:p>
            <a:pPr rtl="0">
              <a:lnSpc>
                <a:spcPct val="60000"/>
              </a:lnSpc>
              <a:defRPr sz="850" b="1" spc="-60" baseline="0">
                <a:cs typeface="B Nazanin" pitchFamily="2" charset="-78"/>
              </a:defRPr>
            </a:pPr>
            <a:endParaRPr lang="en-US"/>
          </a:p>
        </c:txPr>
        <c:crossAx val="121016320"/>
        <c:crosses val="autoZero"/>
        <c:auto val="1"/>
        <c:lblAlgn val="ctr"/>
        <c:lblOffset val="100"/>
        <c:noMultiLvlLbl val="0"/>
      </c:catAx>
      <c:valAx>
        <c:axId val="121016320"/>
        <c:scaling>
          <c:orientation val="minMax"/>
          <c:max val="1"/>
          <c:min val="0"/>
        </c:scaling>
        <c:delete val="0"/>
        <c:axPos val="l"/>
        <c:majorGridlines>
          <c:spPr>
            <a:ln w="28575">
              <a:solidFill>
                <a:schemeClr val="bg1"/>
              </a:solidFill>
            </a:ln>
          </c:spPr>
        </c:majorGridlines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000" b="1"/>
            </a:pPr>
            <a:endParaRPr lang="en-US"/>
          </a:p>
        </c:txPr>
        <c:crossAx val="120998144"/>
        <c:crosses val="autoZero"/>
        <c:crossBetween val="between"/>
        <c:majorUnit val="0.2"/>
      </c:valAx>
      <c:spPr>
        <a:solidFill>
          <a:srgbClr val="7DC7FF"/>
        </a:solidFill>
        <a:ln>
          <a:noFill/>
        </a:ln>
      </c:spPr>
    </c:plotArea>
    <c:legend>
      <c:legendPos val="t"/>
      <c:layout>
        <c:manualLayout>
          <c:xMode val="edge"/>
          <c:yMode val="edge"/>
          <c:x val="0.2476419763350739"/>
          <c:y val="0"/>
          <c:w val="0.51076675761353463"/>
          <c:h val="0.10865167942661501"/>
        </c:manualLayout>
      </c:layout>
      <c:overlay val="0"/>
      <c:txPr>
        <a:bodyPr/>
        <a:lstStyle/>
        <a:p>
          <a:pPr>
            <a:defRPr sz="900" b="1">
              <a:cs typeface="B Nazanin" panose="00000400000000000000" pitchFamily="2" charset="-78"/>
            </a:defRPr>
          </a:pPr>
          <a:endParaRPr lang="en-US"/>
        </a:p>
      </c:txPr>
    </c:legend>
    <c:plotVisOnly val="1"/>
    <c:dispBlanksAs val="gap"/>
    <c:showDLblsOverMax val="0"/>
  </c:chart>
  <c:spPr>
    <a:ln w="28575"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w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MAPNA - MD2 - Farsi 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95766" y="161006"/>
            <a:ext cx="2189250" cy="381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AutoShape 4"/>
          <p:cNvCxnSpPr>
            <a:cxnSpLocks noChangeShapeType="1"/>
          </p:cNvCxnSpPr>
          <p:nvPr/>
        </p:nvCxnSpPr>
        <p:spPr bwMode="auto">
          <a:xfrm flipH="1" flipV="1">
            <a:off x="2998421" y="409783"/>
            <a:ext cx="2082589" cy="2002"/>
          </a:xfrm>
          <a:prstGeom prst="straightConnector1">
            <a:avLst/>
          </a:prstGeom>
          <a:noFill/>
          <a:ln w="34925">
            <a:solidFill>
              <a:srgbClr val="5A5A5A"/>
            </a:solidFill>
            <a:round/>
            <a:headEnd/>
            <a:tailEnd/>
          </a:ln>
        </p:spPr>
      </p:cxnSp>
      <p:cxnSp>
        <p:nvCxnSpPr>
          <p:cNvPr id="10" name="AutoShape 5"/>
          <p:cNvCxnSpPr>
            <a:cxnSpLocks noChangeShapeType="1"/>
          </p:cNvCxnSpPr>
          <p:nvPr/>
        </p:nvCxnSpPr>
        <p:spPr bwMode="auto">
          <a:xfrm flipH="1" flipV="1">
            <a:off x="938556" y="399789"/>
            <a:ext cx="2006475" cy="10005"/>
          </a:xfrm>
          <a:prstGeom prst="straightConnector1">
            <a:avLst/>
          </a:prstGeom>
          <a:noFill/>
          <a:ln w="25400">
            <a:solidFill>
              <a:srgbClr val="BC0000"/>
            </a:solidFill>
            <a:prstDash val="dash"/>
            <a:round/>
            <a:headEnd/>
            <a:tailEnd/>
          </a:ln>
        </p:spPr>
      </p:cxnSp>
      <p:cxnSp>
        <p:nvCxnSpPr>
          <p:cNvPr id="12" name="AutoShape 8"/>
          <p:cNvCxnSpPr>
            <a:cxnSpLocks noChangeShapeType="1"/>
          </p:cNvCxnSpPr>
          <p:nvPr/>
        </p:nvCxnSpPr>
        <p:spPr bwMode="auto">
          <a:xfrm>
            <a:off x="471571" y="9523688"/>
            <a:ext cx="5646493" cy="0"/>
          </a:xfrm>
          <a:prstGeom prst="straightConnector1">
            <a:avLst/>
          </a:prstGeom>
          <a:noFill/>
          <a:ln w="31750">
            <a:solidFill>
              <a:srgbClr val="5A5A5A"/>
            </a:solidFill>
            <a:round/>
            <a:headEnd/>
            <a:tailEnd/>
          </a:ln>
        </p:spPr>
      </p:cxnSp>
      <p:sp>
        <p:nvSpPr>
          <p:cNvPr id="13" name="Rectangle 9"/>
          <p:cNvSpPr>
            <a:spLocks noChangeArrowheads="1"/>
          </p:cNvSpPr>
          <p:nvPr/>
        </p:nvSpPr>
        <p:spPr bwMode="auto">
          <a:xfrm>
            <a:off x="708369" y="9425185"/>
            <a:ext cx="750776" cy="17892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88045" tIns="44024" rIns="88045" bIns="44024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14" name="Oval 10"/>
          <p:cNvSpPr>
            <a:spLocks noChangeArrowheads="1"/>
          </p:cNvSpPr>
          <p:nvPr/>
        </p:nvSpPr>
        <p:spPr bwMode="auto">
          <a:xfrm>
            <a:off x="622208" y="9476781"/>
            <a:ext cx="86165" cy="99846"/>
          </a:xfrm>
          <a:prstGeom prst="ellipse">
            <a:avLst/>
          </a:prstGeom>
          <a:solidFill>
            <a:srgbClr val="BC0000"/>
          </a:solidFill>
          <a:ln w="19050">
            <a:solidFill>
              <a:srgbClr val="5A5A5A"/>
            </a:solidFill>
            <a:round/>
            <a:headEnd/>
            <a:tailEnd/>
          </a:ln>
        </p:spPr>
        <p:txBody>
          <a:bodyPr lIns="88045" tIns="44024" rIns="88045" bIns="44024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15" name="Oval 11"/>
          <p:cNvSpPr>
            <a:spLocks noChangeArrowheads="1"/>
          </p:cNvSpPr>
          <p:nvPr/>
        </p:nvSpPr>
        <p:spPr bwMode="auto">
          <a:xfrm>
            <a:off x="1442873" y="9476781"/>
            <a:ext cx="86165" cy="99846"/>
          </a:xfrm>
          <a:prstGeom prst="ellipse">
            <a:avLst/>
          </a:prstGeom>
          <a:solidFill>
            <a:srgbClr val="BC0000"/>
          </a:solidFill>
          <a:ln w="19050">
            <a:solidFill>
              <a:srgbClr val="5A5A5A"/>
            </a:solidFill>
            <a:round/>
            <a:headEnd/>
            <a:tailEnd/>
          </a:ln>
        </p:spPr>
        <p:txBody>
          <a:bodyPr lIns="88045" tIns="44024" rIns="88045" bIns="44024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16" name="Oval 12"/>
          <p:cNvSpPr>
            <a:spLocks noChangeArrowheads="1"/>
          </p:cNvSpPr>
          <p:nvPr/>
        </p:nvSpPr>
        <p:spPr bwMode="auto">
          <a:xfrm>
            <a:off x="5907163" y="9476781"/>
            <a:ext cx="86165" cy="99846"/>
          </a:xfrm>
          <a:prstGeom prst="ellipse">
            <a:avLst/>
          </a:prstGeom>
          <a:solidFill>
            <a:srgbClr val="BC0000"/>
          </a:solidFill>
          <a:ln w="19050">
            <a:solidFill>
              <a:srgbClr val="5A5A5A"/>
            </a:solidFill>
            <a:round/>
            <a:headEnd/>
            <a:tailEnd/>
          </a:ln>
        </p:spPr>
        <p:txBody>
          <a:bodyPr lIns="88045" tIns="44024" rIns="88045" bIns="44024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17" name="Rectangle 13"/>
          <p:cNvSpPr>
            <a:spLocks noChangeArrowheads="1"/>
          </p:cNvSpPr>
          <p:nvPr/>
        </p:nvSpPr>
        <p:spPr bwMode="auto">
          <a:xfrm>
            <a:off x="4045871" y="9425193"/>
            <a:ext cx="1853466" cy="14273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88045" tIns="44024" rIns="88045" bIns="44024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18" name="Oval 14"/>
          <p:cNvSpPr>
            <a:spLocks noChangeArrowheads="1"/>
          </p:cNvSpPr>
          <p:nvPr/>
        </p:nvSpPr>
        <p:spPr bwMode="auto">
          <a:xfrm>
            <a:off x="3950321" y="9476781"/>
            <a:ext cx="86165" cy="99846"/>
          </a:xfrm>
          <a:prstGeom prst="ellipse">
            <a:avLst/>
          </a:prstGeom>
          <a:solidFill>
            <a:srgbClr val="BC0000"/>
          </a:solidFill>
          <a:ln w="19050">
            <a:solidFill>
              <a:srgbClr val="5A5A5A"/>
            </a:solidFill>
            <a:round/>
            <a:headEnd/>
            <a:tailEnd/>
          </a:ln>
        </p:spPr>
        <p:txBody>
          <a:bodyPr lIns="88045" tIns="44024" rIns="88045" bIns="44024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cs typeface="+mn-cs"/>
            </a:endParaRPr>
          </a:p>
        </p:txBody>
      </p:sp>
      <p:sp>
        <p:nvSpPr>
          <p:cNvPr id="19" name="Slide Number Placeholder 19"/>
          <p:cNvSpPr>
            <a:spLocks noGrp="1"/>
          </p:cNvSpPr>
          <p:nvPr>
            <p:ph type="sldNum" sz="quarter" idx="3"/>
          </p:nvPr>
        </p:nvSpPr>
        <p:spPr>
          <a:xfrm>
            <a:off x="815815" y="9365308"/>
            <a:ext cx="940270" cy="299550"/>
          </a:xfrm>
          <a:prstGeom prst="rect">
            <a:avLst/>
          </a:prstGeom>
        </p:spPr>
        <p:txBody>
          <a:bodyPr vert="horz" wrap="square" lIns="91231" tIns="45621" rIns="91231" bIns="45621" numCol="1" anchor="b" anchorCtr="0" compatLnSpc="1">
            <a:prstTxWarp prst="textNoShape">
              <a:avLst/>
            </a:prstTxWarp>
          </a:bodyPr>
          <a:lstStyle>
            <a:lvl1pPr rtl="1">
              <a:defRPr sz="1100">
                <a:latin typeface="Calibri" pitchFamily="34" charset="0"/>
                <a:cs typeface="B Roya" pitchFamily="2" charset="-78"/>
              </a:defRPr>
            </a:lvl1pPr>
          </a:lstStyle>
          <a:p>
            <a:r>
              <a:rPr lang="fa-IR" sz="900" b="1">
                <a:solidFill>
                  <a:schemeClr val="tx1">
                    <a:lumMod val="75000"/>
                    <a:lumOff val="25000"/>
                  </a:schemeClr>
                </a:solidFill>
                <a:cs typeface="B Nazanin" pitchFamily="2" charset="-78"/>
              </a:rPr>
              <a:t>صفحه </a:t>
            </a:r>
            <a:fld id="{81AB3529-4F32-40D5-B051-DF990D554403}" type="slidenum">
              <a:rPr lang="fa-IR" sz="900" b="1">
                <a:solidFill>
                  <a:schemeClr val="tx1">
                    <a:lumMod val="75000"/>
                    <a:lumOff val="25000"/>
                  </a:schemeClr>
                </a:solidFill>
                <a:cs typeface="B Nazanin" pitchFamily="2" charset="-78"/>
              </a:rPr>
              <a:pPr/>
              <a:t>‹#›</a:t>
            </a:fld>
            <a:endParaRPr lang="en-US" sz="900" b="1">
              <a:solidFill>
                <a:schemeClr val="tx1">
                  <a:lumMod val="75000"/>
                  <a:lumOff val="25000"/>
                </a:schemeClr>
              </a:solidFill>
              <a:cs typeface="B Nazanin" pitchFamily="2" charset="-78"/>
            </a:endParaRPr>
          </a:p>
        </p:txBody>
      </p:sp>
      <p:sp>
        <p:nvSpPr>
          <p:cNvPr id="20" name="Slide Number Placeholder 19"/>
          <p:cNvSpPr txBox="1">
            <a:spLocks/>
          </p:cNvSpPr>
          <p:nvPr/>
        </p:nvSpPr>
        <p:spPr>
          <a:xfrm>
            <a:off x="3941557" y="9357805"/>
            <a:ext cx="2071362" cy="295466"/>
          </a:xfrm>
          <a:prstGeom prst="rect">
            <a:avLst/>
          </a:prstGeom>
        </p:spPr>
        <p:txBody>
          <a:bodyPr lIns="91231" tIns="45621" rIns="91231" bIns="45621" anchor="b"/>
          <a:lstStyle>
            <a:lvl1pPr algn="r">
              <a:defRPr sz="1200"/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a-IR" sz="9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B Nazanin" pitchFamily="2" charset="-78"/>
              </a:rPr>
              <a:t>گزارش رضايت مشتريان شركت توسعه 2</a:t>
            </a:r>
            <a:endParaRPr lang="en-US" sz="900" b="1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B Nazanin" pitchFamily="2" charset="-78"/>
            </a:endParaRPr>
          </a:p>
        </p:txBody>
      </p:sp>
      <p:pic>
        <p:nvPicPr>
          <p:cNvPr id="22" name="Picture 21" descr="qualitysatisfactionservice_gg65723480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22569" y="135092"/>
            <a:ext cx="580356" cy="577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285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4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303213" y="1112838"/>
            <a:ext cx="7250113" cy="50196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grpSp>
        <p:nvGrpSpPr>
          <p:cNvPr id="8195" name="Group 89"/>
          <p:cNvGrpSpPr>
            <a:grpSpLocks/>
          </p:cNvGrpSpPr>
          <p:nvPr/>
        </p:nvGrpSpPr>
        <p:grpSpPr bwMode="auto">
          <a:xfrm>
            <a:off x="298505" y="7146071"/>
            <a:ext cx="6009872" cy="1896711"/>
            <a:chOff x="196" y="4058"/>
            <a:chExt cx="3988" cy="1546"/>
          </a:xfrm>
        </p:grpSpPr>
        <p:sp>
          <p:nvSpPr>
            <p:cNvPr id="27699" name="Line 51"/>
            <p:cNvSpPr>
              <a:spLocks noChangeShapeType="1"/>
            </p:cNvSpPr>
            <p:nvPr/>
          </p:nvSpPr>
          <p:spPr bwMode="auto">
            <a:xfrm>
              <a:off x="196" y="5604"/>
              <a:ext cx="3988" cy="0"/>
            </a:xfrm>
            <a:prstGeom prst="line">
              <a:avLst/>
            </a:prstGeom>
            <a:noFill/>
            <a:ln w="635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9144" tIns="9144" rIns="9144" bIns="9144" anchor="ctr"/>
            <a:lstStyle/>
            <a:p>
              <a:pPr>
                <a:defRPr/>
              </a:pPr>
              <a:endParaRPr lang="en-US">
                <a:latin typeface="Arial" charset="0"/>
              </a:endParaRPr>
            </a:p>
          </p:txBody>
        </p:sp>
        <p:sp>
          <p:nvSpPr>
            <p:cNvPr id="27700" name="Line 52"/>
            <p:cNvSpPr>
              <a:spLocks noChangeShapeType="1"/>
            </p:cNvSpPr>
            <p:nvPr/>
          </p:nvSpPr>
          <p:spPr bwMode="auto">
            <a:xfrm>
              <a:off x="196" y="5409"/>
              <a:ext cx="3988" cy="0"/>
            </a:xfrm>
            <a:prstGeom prst="line">
              <a:avLst/>
            </a:prstGeom>
            <a:noFill/>
            <a:ln w="635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9144" tIns="9144" rIns="9144" bIns="9144" anchor="ctr"/>
            <a:lstStyle/>
            <a:p>
              <a:pPr>
                <a:defRPr/>
              </a:pPr>
              <a:endParaRPr lang="en-US">
                <a:latin typeface="Arial" charset="0"/>
              </a:endParaRPr>
            </a:p>
          </p:txBody>
        </p:sp>
        <p:sp>
          <p:nvSpPr>
            <p:cNvPr id="27701" name="Line 53"/>
            <p:cNvSpPr>
              <a:spLocks noChangeShapeType="1"/>
            </p:cNvSpPr>
            <p:nvPr/>
          </p:nvSpPr>
          <p:spPr bwMode="auto">
            <a:xfrm>
              <a:off x="196" y="5218"/>
              <a:ext cx="3988" cy="0"/>
            </a:xfrm>
            <a:prstGeom prst="line">
              <a:avLst/>
            </a:prstGeom>
            <a:noFill/>
            <a:ln w="635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9144" tIns="9144" rIns="9144" bIns="9144" anchor="ctr"/>
            <a:lstStyle/>
            <a:p>
              <a:pPr>
                <a:defRPr/>
              </a:pPr>
              <a:endParaRPr lang="en-US">
                <a:latin typeface="Arial" charset="0"/>
              </a:endParaRPr>
            </a:p>
          </p:txBody>
        </p:sp>
        <p:sp>
          <p:nvSpPr>
            <p:cNvPr id="27702" name="Line 54"/>
            <p:cNvSpPr>
              <a:spLocks noChangeShapeType="1"/>
            </p:cNvSpPr>
            <p:nvPr/>
          </p:nvSpPr>
          <p:spPr bwMode="auto">
            <a:xfrm>
              <a:off x="196" y="5024"/>
              <a:ext cx="3988" cy="0"/>
            </a:xfrm>
            <a:prstGeom prst="line">
              <a:avLst/>
            </a:prstGeom>
            <a:noFill/>
            <a:ln w="635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9144" tIns="9144" rIns="9144" bIns="9144" anchor="ctr"/>
            <a:lstStyle/>
            <a:p>
              <a:pPr>
                <a:defRPr/>
              </a:pPr>
              <a:endParaRPr lang="en-US">
                <a:latin typeface="Arial" charset="0"/>
              </a:endParaRPr>
            </a:p>
          </p:txBody>
        </p:sp>
        <p:sp>
          <p:nvSpPr>
            <p:cNvPr id="27703" name="Line 55"/>
            <p:cNvSpPr>
              <a:spLocks noChangeShapeType="1"/>
            </p:cNvSpPr>
            <p:nvPr/>
          </p:nvSpPr>
          <p:spPr bwMode="auto">
            <a:xfrm>
              <a:off x="196" y="4831"/>
              <a:ext cx="3988" cy="0"/>
            </a:xfrm>
            <a:prstGeom prst="line">
              <a:avLst/>
            </a:prstGeom>
            <a:noFill/>
            <a:ln w="635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9144" tIns="9144" rIns="9144" bIns="9144" anchor="ctr"/>
            <a:lstStyle/>
            <a:p>
              <a:pPr>
                <a:defRPr/>
              </a:pPr>
              <a:endParaRPr lang="en-US">
                <a:latin typeface="Arial" charset="0"/>
              </a:endParaRPr>
            </a:p>
          </p:txBody>
        </p:sp>
        <p:sp>
          <p:nvSpPr>
            <p:cNvPr id="27704" name="Line 56"/>
            <p:cNvSpPr>
              <a:spLocks noChangeShapeType="1"/>
            </p:cNvSpPr>
            <p:nvPr/>
          </p:nvSpPr>
          <p:spPr bwMode="auto">
            <a:xfrm>
              <a:off x="196" y="4638"/>
              <a:ext cx="3988" cy="0"/>
            </a:xfrm>
            <a:prstGeom prst="line">
              <a:avLst/>
            </a:prstGeom>
            <a:noFill/>
            <a:ln w="635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9144" tIns="9144" rIns="9144" bIns="9144" anchor="ctr"/>
            <a:lstStyle/>
            <a:p>
              <a:pPr>
                <a:defRPr/>
              </a:pPr>
              <a:endParaRPr lang="en-US">
                <a:latin typeface="Arial" charset="0"/>
              </a:endParaRPr>
            </a:p>
          </p:txBody>
        </p:sp>
        <p:sp>
          <p:nvSpPr>
            <p:cNvPr id="27705" name="Line 57"/>
            <p:cNvSpPr>
              <a:spLocks noChangeShapeType="1"/>
            </p:cNvSpPr>
            <p:nvPr/>
          </p:nvSpPr>
          <p:spPr bwMode="auto">
            <a:xfrm>
              <a:off x="196" y="4445"/>
              <a:ext cx="3988" cy="0"/>
            </a:xfrm>
            <a:prstGeom prst="line">
              <a:avLst/>
            </a:prstGeom>
            <a:noFill/>
            <a:ln w="635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9144" tIns="9144" rIns="9144" bIns="9144" anchor="ctr"/>
            <a:lstStyle/>
            <a:p>
              <a:pPr>
                <a:defRPr/>
              </a:pPr>
              <a:endParaRPr lang="en-US">
                <a:latin typeface="Arial" charset="0"/>
              </a:endParaRPr>
            </a:p>
          </p:txBody>
        </p:sp>
        <p:sp>
          <p:nvSpPr>
            <p:cNvPr id="27706" name="Line 58"/>
            <p:cNvSpPr>
              <a:spLocks noChangeShapeType="1"/>
            </p:cNvSpPr>
            <p:nvPr/>
          </p:nvSpPr>
          <p:spPr bwMode="auto">
            <a:xfrm>
              <a:off x="196" y="4251"/>
              <a:ext cx="3988" cy="0"/>
            </a:xfrm>
            <a:prstGeom prst="line">
              <a:avLst/>
            </a:prstGeom>
            <a:noFill/>
            <a:ln w="635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9144" tIns="9144" rIns="9144" bIns="9144" anchor="ctr"/>
            <a:lstStyle/>
            <a:p>
              <a:pPr>
                <a:defRPr/>
              </a:pPr>
              <a:endParaRPr lang="en-US">
                <a:latin typeface="Arial" charset="0"/>
              </a:endParaRPr>
            </a:p>
          </p:txBody>
        </p:sp>
        <p:sp>
          <p:nvSpPr>
            <p:cNvPr id="27707" name="Line 59"/>
            <p:cNvSpPr>
              <a:spLocks noChangeShapeType="1"/>
            </p:cNvSpPr>
            <p:nvPr/>
          </p:nvSpPr>
          <p:spPr bwMode="auto">
            <a:xfrm>
              <a:off x="196" y="4058"/>
              <a:ext cx="3988" cy="0"/>
            </a:xfrm>
            <a:prstGeom prst="line">
              <a:avLst/>
            </a:prstGeom>
            <a:noFill/>
            <a:ln w="635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9144" tIns="9144" rIns="9144" bIns="9144" anchor="ctr"/>
            <a:lstStyle/>
            <a:p>
              <a:pPr>
                <a:defRPr/>
              </a:pPr>
              <a:endParaRPr lang="en-US">
                <a:latin typeface="Arial" charset="0"/>
              </a:endParaRPr>
            </a:p>
          </p:txBody>
        </p:sp>
      </p:grpSp>
      <p:sp>
        <p:nvSpPr>
          <p:cNvPr id="27709" name="Text Box 61"/>
          <p:cNvSpPr txBox="1">
            <a:spLocks noChangeArrowheads="1"/>
          </p:cNvSpPr>
          <p:nvPr/>
        </p:nvSpPr>
        <p:spPr bwMode="auto">
          <a:xfrm>
            <a:off x="218493" y="6667911"/>
            <a:ext cx="1594016" cy="236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272" tIns="10272" rIns="10272" bIns="10272" anchor="ctr">
            <a:spAutoFit/>
          </a:bodyPr>
          <a:lstStyle/>
          <a:p>
            <a:pPr defTabSz="1027537">
              <a:spcBef>
                <a:spcPct val="50000"/>
              </a:spcBef>
              <a:defRPr/>
            </a:pPr>
            <a:r>
              <a:rPr lang="en-US" sz="1400" b="1" i="1" u="sng">
                <a:latin typeface="Arial Narrow" pitchFamily="34" charset="0"/>
              </a:rPr>
              <a:t>Notes:</a:t>
            </a:r>
            <a:endParaRPr lang="en-US" sz="1400" b="1" i="1">
              <a:latin typeface="Arial Narrow" pitchFamily="34" charset="0"/>
            </a:endParaRPr>
          </a:p>
        </p:txBody>
      </p:sp>
      <p:sp>
        <p:nvSpPr>
          <p:cNvPr id="27739" name="Rectangle 91"/>
          <p:cNvSpPr>
            <a:spLocks noChangeArrowheads="1"/>
          </p:cNvSpPr>
          <p:nvPr/>
        </p:nvSpPr>
        <p:spPr bwMode="auto">
          <a:xfrm>
            <a:off x="6268370" y="9611340"/>
            <a:ext cx="335420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ctr" defTabSz="1027537">
              <a:defRPr/>
            </a:pPr>
            <a:r>
              <a:rPr lang="en-US" sz="900" b="1">
                <a:latin typeface="Arial Narrow" pitchFamily="34" charset="0"/>
                <a:sym typeface="Wingdings 3" pitchFamily="18" charset="2"/>
              </a:rPr>
              <a:t>  </a:t>
            </a:r>
            <a:fld id="{9F18ADEB-016F-40CC-9393-7BFCE1A2EEC3}" type="slidenum">
              <a:rPr lang="en-US" sz="900" b="1">
                <a:latin typeface="Arial Narrow" pitchFamily="34" charset="0"/>
              </a:rPr>
              <a:pPr algn="ctr" defTabSz="1027537">
                <a:defRPr/>
              </a:pPr>
              <a:t>‹#›</a:t>
            </a:fld>
            <a:endParaRPr lang="en-US" sz="900" b="1">
              <a:latin typeface="Arial Narrow" pitchFamily="34" charset="0"/>
            </a:endParaRPr>
          </a:p>
        </p:txBody>
      </p:sp>
      <p:sp>
        <p:nvSpPr>
          <p:cNvPr id="27740" name="Rectangle 92"/>
          <p:cNvSpPr>
            <a:spLocks noChangeArrowheads="1"/>
          </p:cNvSpPr>
          <p:nvPr/>
        </p:nvSpPr>
        <p:spPr bwMode="auto">
          <a:xfrm>
            <a:off x="166176" y="394044"/>
            <a:ext cx="6249899" cy="1532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2618" tIns="51309" rIns="102618" bIns="51309"/>
          <a:lstStyle/>
          <a:p>
            <a:pPr defTabSz="1027537" eaLnBrk="1" hangingPunct="1">
              <a:spcBef>
                <a:spcPct val="0"/>
              </a:spcBef>
              <a:defRPr/>
            </a:pPr>
            <a:r>
              <a:rPr lang="en-US" sz="2300" b="1">
                <a:latin typeface="Arial Narrow" pitchFamily="34" charset="0"/>
              </a:rPr>
              <a:t>Presentation Title Here </a:t>
            </a:r>
          </a:p>
        </p:txBody>
      </p:sp>
      <p:sp>
        <p:nvSpPr>
          <p:cNvPr id="27742" name="Freeform 94"/>
          <p:cNvSpPr>
            <a:spLocks/>
          </p:cNvSpPr>
          <p:nvPr/>
        </p:nvSpPr>
        <p:spPr bwMode="auto">
          <a:xfrm>
            <a:off x="16" y="9468532"/>
            <a:ext cx="6646863" cy="125222"/>
          </a:xfrm>
          <a:custGeom>
            <a:avLst/>
            <a:gdLst/>
            <a:ahLst/>
            <a:cxnLst>
              <a:cxn ang="0">
                <a:pos x="5766" y="4"/>
              </a:cxn>
              <a:cxn ang="0">
                <a:pos x="4236" y="0"/>
              </a:cxn>
              <a:cxn ang="0">
                <a:pos x="4170" y="54"/>
              </a:cxn>
              <a:cxn ang="0">
                <a:pos x="0" y="55"/>
              </a:cxn>
            </a:cxnLst>
            <a:rect l="0" t="0" r="r" b="b"/>
            <a:pathLst>
              <a:path w="5766" h="55">
                <a:moveTo>
                  <a:pt x="5766" y="4"/>
                </a:moveTo>
                <a:lnTo>
                  <a:pt x="4236" y="0"/>
                </a:lnTo>
                <a:lnTo>
                  <a:pt x="4170" y="54"/>
                </a:lnTo>
                <a:lnTo>
                  <a:pt x="0" y="55"/>
                </a:lnTo>
              </a:path>
            </a:pathLst>
          </a:custGeom>
          <a:noFill/>
          <a:ln w="19050" cap="flat" cmpd="sng">
            <a:solidFill>
              <a:srgbClr val="58799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3521" tIns="43521" rIns="43521" bIns="43521" anchor="ctr"/>
          <a:lstStyle/>
          <a:p>
            <a:pPr>
              <a:defRPr/>
            </a:pPr>
            <a:endParaRPr lang="en-US">
              <a:latin typeface="Arial" charset="0"/>
            </a:endParaRPr>
          </a:p>
        </p:txBody>
      </p:sp>
      <p:sp>
        <p:nvSpPr>
          <p:cNvPr id="27743" name="Rectangle 95"/>
          <p:cNvSpPr>
            <a:spLocks noChangeArrowheads="1"/>
          </p:cNvSpPr>
          <p:nvPr/>
        </p:nvSpPr>
        <p:spPr bwMode="auto">
          <a:xfrm>
            <a:off x="166186" y="9618023"/>
            <a:ext cx="2475648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defTabSz="1027537">
              <a:defRPr/>
            </a:pPr>
            <a:endParaRPr lang="en-US" sz="900">
              <a:latin typeface="Arial Narrow" pitchFamily="34" charset="0"/>
            </a:endParaRPr>
          </a:p>
        </p:txBody>
      </p:sp>
      <p:sp>
        <p:nvSpPr>
          <p:cNvPr id="27744" name="Rectangle 96"/>
          <p:cNvSpPr>
            <a:spLocks noChangeArrowheads="1"/>
          </p:cNvSpPr>
          <p:nvPr/>
        </p:nvSpPr>
        <p:spPr bwMode="auto">
          <a:xfrm>
            <a:off x="3594237" y="9609672"/>
            <a:ext cx="2695672" cy="1384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r" defTabSz="1027537">
              <a:defRPr/>
            </a:pPr>
            <a:r>
              <a:rPr lang="en-US" sz="900" b="1">
                <a:solidFill>
                  <a:srgbClr val="000000"/>
                </a:solidFill>
                <a:latin typeface="Arial Narrow" pitchFamily="34" charset="0"/>
              </a:rPr>
              <a:t>© 2009 Palladium Group, Inc - Confidential</a:t>
            </a:r>
          </a:p>
        </p:txBody>
      </p:sp>
      <p:sp>
        <p:nvSpPr>
          <p:cNvPr id="27746" name="Freeform 98"/>
          <p:cNvSpPr>
            <a:spLocks/>
          </p:cNvSpPr>
          <p:nvPr/>
        </p:nvSpPr>
        <p:spPr bwMode="auto">
          <a:xfrm>
            <a:off x="16" y="6"/>
            <a:ext cx="6646863" cy="140250"/>
          </a:xfrm>
          <a:custGeom>
            <a:avLst/>
            <a:gdLst/>
            <a:ahLst/>
            <a:cxnLst>
              <a:cxn ang="0">
                <a:pos x="0" y="30"/>
              </a:cxn>
              <a:cxn ang="0">
                <a:pos x="4170" y="36"/>
              </a:cxn>
              <a:cxn ang="0">
                <a:pos x="4239" y="84"/>
              </a:cxn>
              <a:cxn ang="0">
                <a:pos x="5754" y="84"/>
              </a:cxn>
              <a:cxn ang="0">
                <a:pos x="5752" y="0"/>
              </a:cxn>
              <a:cxn ang="0">
                <a:pos x="0" y="0"/>
              </a:cxn>
              <a:cxn ang="0">
                <a:pos x="0" y="30"/>
              </a:cxn>
            </a:cxnLst>
            <a:rect l="0" t="0" r="r" b="b"/>
            <a:pathLst>
              <a:path w="5754" h="84">
                <a:moveTo>
                  <a:pt x="0" y="30"/>
                </a:moveTo>
                <a:lnTo>
                  <a:pt x="4170" y="36"/>
                </a:lnTo>
                <a:lnTo>
                  <a:pt x="4239" y="84"/>
                </a:lnTo>
                <a:lnTo>
                  <a:pt x="5754" y="84"/>
                </a:lnTo>
                <a:lnTo>
                  <a:pt x="5752" y="0"/>
                </a:lnTo>
                <a:lnTo>
                  <a:pt x="0" y="0"/>
                </a:lnTo>
                <a:lnTo>
                  <a:pt x="0" y="30"/>
                </a:lnTo>
                <a:close/>
              </a:path>
            </a:pathLst>
          </a:custGeom>
          <a:solidFill>
            <a:srgbClr val="587993"/>
          </a:solidFill>
          <a:ln w="25400" cap="flat" cmpd="sng">
            <a:solidFill>
              <a:srgbClr val="58799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3521" tIns="43521" rIns="43521" bIns="43521" anchor="ctr"/>
          <a:lstStyle/>
          <a:p>
            <a:pPr>
              <a:defRPr/>
            </a:pPr>
            <a:endParaRPr lang="en-US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83811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76275" y="735013"/>
            <a:ext cx="5294313" cy="3667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64978" y="4644608"/>
            <a:ext cx="5316914" cy="4398865"/>
          </a:xfrm>
          <a:prstGeom prst="rect">
            <a:avLst/>
          </a:prstGeom>
        </p:spPr>
        <p:txBody>
          <a:bodyPr lIns="84954" tIns="42477" rIns="84954" bIns="42477"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764836" y="9287579"/>
            <a:ext cx="2880595" cy="488224"/>
          </a:xfrm>
          <a:prstGeom prst="rect">
            <a:avLst/>
          </a:prstGeom>
        </p:spPr>
        <p:txBody>
          <a:bodyPr lIns="84954" tIns="42477" rIns="84954" bIns="42477"/>
          <a:lstStyle/>
          <a:p>
            <a:fld id="{BF36A840-E121-4EC5-9B26-054F38FC2362}" type="slidenum">
              <a:rPr lang="en-GB" smtClean="0">
                <a:solidFill>
                  <a:prstClr val="black"/>
                </a:solidFill>
              </a:rPr>
              <a:pPr/>
              <a:t>4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9506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chart" Target="../charts/chart4.xml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chart" Target="../charts/chart3.xml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46"/>
          <a:stretch/>
        </p:blipFill>
        <p:spPr>
          <a:xfrm>
            <a:off x="558118" y="1267425"/>
            <a:ext cx="8754866" cy="5228625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 bwMode="auto">
          <a:xfrm>
            <a:off x="0" y="3897449"/>
            <a:ext cx="9906000" cy="1367971"/>
          </a:xfrm>
          <a:prstGeom prst="rect">
            <a:avLst/>
          </a:prstGeom>
          <a:solidFill>
            <a:srgbClr val="1945B2">
              <a:alpha val="85000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7493000" y="3892550"/>
            <a:ext cx="1701800" cy="1376136"/>
          </a:xfrm>
          <a:prstGeom prst="rect">
            <a:avLst/>
          </a:prstGeom>
          <a:solidFill>
            <a:srgbClr val="51D4FF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0422" name="Rectangle 2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71999" y="4639103"/>
            <a:ext cx="2763199" cy="535691"/>
          </a:xfrm>
        </p:spPr>
        <p:txBody>
          <a:bodyPr/>
          <a:lstStyle>
            <a:lvl1pPr marL="53975" indent="0" algn="r" rtl="0">
              <a:buFont typeface="Wingdings" pitchFamily="28" charset="2"/>
              <a:buNone/>
              <a:defRPr kumimoji="0" lang="en-US" sz="3200" b="1" i="0" u="none" strike="noStrike" kern="0" cap="none" spc="0" normalizeH="0" baseline="0" noProof="0" dirty="0" smtClean="0">
                <a:ln w="9525">
                  <a:noFill/>
                  <a:prstDash val="solid"/>
                </a:ln>
                <a:solidFill>
                  <a:srgbClr val="51D4FF"/>
                </a:solidFill>
                <a:effectLst/>
                <a:uLnTx/>
                <a:uFillTx/>
                <a:latin typeface="+mj-lt"/>
                <a:ea typeface="+mj-ea"/>
                <a:cs typeface="B Nazanin" pitchFamily="2" charset="-78"/>
              </a:defRPr>
            </a:lvl1pPr>
          </a:lstStyle>
          <a:p>
            <a:pPr marL="0" marR="0" lvl="0" indent="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a-IR" dirty="0" smtClean="0"/>
              <a:t>معاونت بازرگانی</a:t>
            </a:r>
            <a:endParaRPr lang="en-US" dirty="0" smtClean="0"/>
          </a:p>
        </p:txBody>
      </p:sp>
      <p:sp>
        <p:nvSpPr>
          <p:cNvPr id="60423" name="Rectangle 1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66057" y="3966648"/>
            <a:ext cx="6769142" cy="610548"/>
          </a:xfrm>
        </p:spPr>
        <p:txBody>
          <a:bodyPr/>
          <a:lstStyle>
            <a:lvl1pPr marL="0" indent="0">
              <a:defRPr kumimoji="0" lang="en-US" sz="4000" b="1" i="0" u="none" strike="noStrike" kern="0" cap="none" spc="0" normalizeH="0" baseline="0" noProof="0" dirty="0" smtClean="0">
                <a:ln w="9525">
                  <a:noFill/>
                  <a:prstDash val="solid"/>
                </a:ln>
                <a:solidFill>
                  <a:srgbClr val="51D4FF"/>
                </a:solidFill>
                <a:uLnTx/>
                <a:uFillTx/>
                <a:latin typeface="+mj-lt"/>
                <a:ea typeface="+mj-ea"/>
                <a:cs typeface="B Nazanin" pitchFamily="2" charset="-78"/>
              </a:defRPr>
            </a:lvl1pPr>
          </a:lstStyle>
          <a:p>
            <a:r>
              <a:rPr lang="fa-IR" dirty="0" smtClean="0"/>
              <a:t>گزارش پیشرفت اقدامات استراتژیک</a:t>
            </a:r>
            <a:endParaRPr lang="en-US" dirty="0" smtClean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7493508" y="3957122"/>
            <a:ext cx="1688592" cy="1106877"/>
            <a:chOff x="7493508" y="3957122"/>
            <a:chExt cx="1688592" cy="1106877"/>
          </a:xfrm>
        </p:grpSpPr>
        <p:sp>
          <p:nvSpPr>
            <p:cNvPr id="27" name="TextBox 26"/>
            <p:cNvSpPr txBox="1"/>
            <p:nvPr userDrawn="1"/>
          </p:nvSpPr>
          <p:spPr>
            <a:xfrm>
              <a:off x="7493508" y="4756222"/>
              <a:ext cx="1688592" cy="307777"/>
            </a:xfrm>
            <a:prstGeom prst="rect">
              <a:avLst/>
            </a:prstGeom>
            <a:noFill/>
          </p:spPr>
          <p:txBody>
            <a:bodyPr wrap="square" rtlCol="1">
              <a:spAutoFit/>
            </a:bodyPr>
            <a:lstStyle/>
            <a:p>
              <a:pPr algn="ctr"/>
              <a:r>
                <a:rPr lang="fa-IR" sz="1400" b="1" dirty="0" smtClean="0">
                  <a:solidFill>
                    <a:srgbClr val="1945B2"/>
                  </a:solidFill>
                  <a:cs typeface="B Nazanin" pitchFamily="2" charset="-78"/>
                </a:rPr>
                <a:t>شرکت پالایش نفت جی</a:t>
              </a:r>
              <a:endParaRPr lang="fa-IR" sz="1400" b="1" dirty="0">
                <a:solidFill>
                  <a:srgbClr val="1945B2"/>
                </a:solidFill>
                <a:cs typeface="B Nazanin" pitchFamily="2" charset="-78"/>
              </a:endParaRPr>
            </a:p>
          </p:txBody>
        </p:sp>
        <p:pic>
          <p:nvPicPr>
            <p:cNvPr id="4" name="Picture 3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39088" y="3957122"/>
              <a:ext cx="828886" cy="845942"/>
            </a:xfrm>
            <a:prstGeom prst="rect">
              <a:avLst/>
            </a:prstGeom>
          </p:spPr>
        </p:pic>
      </p:grp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22" y="271321"/>
            <a:ext cx="4009465" cy="935688"/>
          </a:xfrm>
          <a:prstGeom prst="rect">
            <a:avLst/>
          </a:prstGeom>
        </p:spPr>
      </p:pic>
    </p:spTree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Chart 15"/>
          <p:cNvGraphicFramePr/>
          <p:nvPr userDrawn="1">
            <p:extLst/>
          </p:nvPr>
        </p:nvGraphicFramePr>
        <p:xfrm>
          <a:off x="571500" y="1509487"/>
          <a:ext cx="8801100" cy="2805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0" name="Rectangle 29"/>
          <p:cNvSpPr/>
          <p:nvPr userDrawn="1"/>
        </p:nvSpPr>
        <p:spPr bwMode="auto">
          <a:xfrm>
            <a:off x="0" y="1146010"/>
            <a:ext cx="9906000" cy="1414853"/>
          </a:xfrm>
          <a:prstGeom prst="rect">
            <a:avLst/>
          </a:prstGeom>
          <a:solidFill>
            <a:srgbClr val="33CCFF">
              <a:alpha val="90000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0423" name="Rectangle 1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33333" y="1259426"/>
            <a:ext cx="8461829" cy="1199840"/>
          </a:xfrm>
        </p:spPr>
        <p:txBody>
          <a:bodyPr anchor="ctr" anchorCtr="0"/>
          <a:lstStyle>
            <a:lvl1pPr marL="0" indent="0" algn="ctr">
              <a:defRPr kumimoji="0" lang="en-US" sz="3400" b="1" i="0" u="none" strike="noStrike" kern="0" cap="none" spc="0" normalizeH="0" baseline="0" noProof="0" dirty="0" smtClean="0">
                <a:ln w="9525">
                  <a:noFill/>
                  <a:prstDash val="solid"/>
                </a:ln>
                <a:solidFill>
                  <a:schemeClr val="accent5">
                    <a:lumMod val="25000"/>
                  </a:schemeClr>
                </a:solidFill>
                <a:uLnTx/>
                <a:uFillTx/>
                <a:latin typeface="+mj-lt"/>
                <a:ea typeface="+mj-ea"/>
                <a:cs typeface="B Nazanin" pitchFamily="2" charset="-78"/>
              </a:defRPr>
            </a:lvl1pPr>
          </a:lstStyle>
          <a:p>
            <a:r>
              <a:rPr lang="fa-IR" dirty="0" smtClean="0"/>
              <a:t>عنوان </a:t>
            </a:r>
            <a:r>
              <a:rPr lang="fa-IR" dirty="0" err="1" smtClean="0"/>
              <a:t>سنجه</a:t>
            </a:r>
            <a:endParaRPr lang="en-US" dirty="0" smtClean="0"/>
          </a:p>
        </p:txBody>
      </p:sp>
      <p:sp>
        <p:nvSpPr>
          <p:cNvPr id="19" name="Rectangle 18"/>
          <p:cNvSpPr/>
          <p:nvPr userDrawn="1"/>
        </p:nvSpPr>
        <p:spPr bwMode="auto">
          <a:xfrm>
            <a:off x="733334" y="4391026"/>
            <a:ext cx="8461829" cy="2279488"/>
          </a:xfrm>
          <a:prstGeom prst="rect">
            <a:avLst/>
          </a:prstGeom>
          <a:solidFill>
            <a:schemeClr val="accent5">
              <a:lumMod val="2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Oval 22"/>
          <p:cNvSpPr/>
          <p:nvPr userDrawn="1"/>
        </p:nvSpPr>
        <p:spPr bwMode="auto">
          <a:xfrm>
            <a:off x="8911019" y="129875"/>
            <a:ext cx="828000" cy="828000"/>
          </a:xfrm>
          <a:prstGeom prst="ellipse">
            <a:avLst/>
          </a:prstGeom>
          <a:solidFill>
            <a:srgbClr val="33CCFF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4" name="Picture 23"/>
          <p:cNvPicPr>
            <a:picLocks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6756" y="205632"/>
            <a:ext cx="648000" cy="648000"/>
          </a:xfrm>
          <a:prstGeom prst="rect">
            <a:avLst/>
          </a:prstGeom>
        </p:spPr>
      </p:pic>
      <p:sp>
        <p:nvSpPr>
          <p:cNvPr id="2" name="TextBox 1"/>
          <p:cNvSpPr txBox="1"/>
          <p:nvPr userDrawn="1"/>
        </p:nvSpPr>
        <p:spPr>
          <a:xfrm>
            <a:off x="3740687" y="669699"/>
            <a:ext cx="2356925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r" rtl="1"/>
            <a:r>
              <a:rPr lang="fa-IR" sz="2000" b="1" dirty="0" smtClean="0">
                <a:solidFill>
                  <a:schemeClr val="accent5">
                    <a:lumMod val="25000"/>
                  </a:schemeClr>
                </a:solidFill>
                <a:cs typeface="B Nazanin" panose="00000400000000000000" pitchFamily="2" charset="-78"/>
              </a:rPr>
              <a:t>عنوان </a:t>
            </a:r>
            <a:r>
              <a:rPr lang="fa-IR" sz="2000" b="1" dirty="0" err="1" smtClean="0">
                <a:solidFill>
                  <a:schemeClr val="accent5">
                    <a:lumMod val="25000"/>
                  </a:schemeClr>
                </a:solidFill>
                <a:cs typeface="B Nazanin" panose="00000400000000000000" pitchFamily="2" charset="-78"/>
              </a:rPr>
              <a:t>سنجه</a:t>
            </a:r>
            <a:r>
              <a:rPr lang="fa-IR" sz="2000" b="1" dirty="0" smtClean="0">
                <a:solidFill>
                  <a:schemeClr val="accent5">
                    <a:lumMod val="25000"/>
                  </a:schemeClr>
                </a:solidFill>
                <a:cs typeface="B Nazanin" panose="00000400000000000000" pitchFamily="2" charset="-78"/>
              </a:rPr>
              <a:t> استراتژیک:</a:t>
            </a:r>
            <a:endParaRPr lang="fa-IR" sz="2000" b="1" dirty="0">
              <a:solidFill>
                <a:schemeClr val="accent5">
                  <a:lumMod val="25000"/>
                </a:schemeClr>
              </a:solidFill>
              <a:cs typeface="B Nazanin" panose="00000400000000000000" pitchFamily="2" charset="-78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9403" y="4720770"/>
            <a:ext cx="5405293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451747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46063" y="1242264"/>
            <a:ext cx="9328150" cy="5099074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</a:bodyPr>
          <a:lstStyle>
            <a:lvl1pPr algn="just">
              <a:defRPr lang="en-US" sz="2000">
                <a:solidFill>
                  <a:schemeClr val="tx1"/>
                </a:solidFill>
                <a:latin typeface="+mn-lt"/>
                <a:ea typeface="+mn-ea"/>
                <a:cs typeface="B Nazanin" pitchFamily="2" charset="-78"/>
              </a:defRPr>
            </a:lvl1pPr>
            <a:lvl2pPr algn="just">
              <a:defRPr/>
            </a:lvl2pPr>
            <a:lvl3pPr algn="just">
              <a:defRPr/>
            </a:lvl3pPr>
            <a:lvl4pPr algn="just">
              <a:defRPr/>
            </a:lvl4pPr>
            <a:lvl5pPr algn="just">
              <a:defRPr/>
            </a:lvl5pPr>
          </a:lstStyle>
          <a:p>
            <a:pPr marL="225425" lvl="0" indent="-225425" algn="r" rtl="1" eaLnBrk="0" fontAlgn="base" hangingPunc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itchFamily="2" charset="2"/>
              <a:buChar char="§"/>
            </a:pPr>
            <a:r>
              <a:rPr lang="fa-IR" smtClean="0"/>
              <a:t>متن</a:t>
            </a:r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758458" y="724293"/>
            <a:ext cx="8241245" cy="382445"/>
          </a:xfrm>
        </p:spPr>
        <p:txBody>
          <a:bodyPr anchor="ctr" anchorCtr="0"/>
          <a:lstStyle>
            <a:lvl1pPr algn="r" rtl="1">
              <a:buNone/>
              <a:defRPr lang="en-US" sz="2000" b="1" i="0" baseline="0" dirty="0" smtClean="0">
                <a:solidFill>
                  <a:srgbClr val="6699FF"/>
                </a:solidFill>
                <a:latin typeface="+mj-lt"/>
                <a:ea typeface="+mj-ea"/>
                <a:cs typeface="B Nazanin" pitchFamily="2" charset="-78"/>
              </a:defRPr>
            </a:lvl1pPr>
          </a:lstStyle>
          <a:p>
            <a:pPr lvl="0"/>
            <a:r>
              <a:rPr lang="fa-IR" smtClean="0"/>
              <a:t>عنوان فرعي</a:t>
            </a:r>
            <a:endParaRPr lang="en-US" dirty="0" smtClean="0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3457574" y="198120"/>
            <a:ext cx="5762625" cy="538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a-IR" smtClean="0"/>
              <a:t>عنوان اصلي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8503908"/>
      </p:ext>
    </p:extLst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3457574" y="198120"/>
            <a:ext cx="5762625" cy="538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a-IR" smtClean="0"/>
              <a:t>عنوان اصلي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69546693"/>
      </p:ext>
    </p:extLst>
  </p:cSld>
  <p:clrMapOvr>
    <a:masterClrMapping/>
  </p:clrMapOvr>
  <p:transition>
    <p:wipe dir="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46"/>
          <a:stretch/>
        </p:blipFill>
        <p:spPr>
          <a:xfrm>
            <a:off x="558118" y="1267425"/>
            <a:ext cx="8754866" cy="5228625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 bwMode="auto">
          <a:xfrm>
            <a:off x="0" y="3897449"/>
            <a:ext cx="9906000" cy="1367971"/>
          </a:xfrm>
          <a:prstGeom prst="rect">
            <a:avLst/>
          </a:prstGeom>
          <a:solidFill>
            <a:srgbClr val="1945B2">
              <a:alpha val="85000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7493000" y="3892550"/>
            <a:ext cx="1701800" cy="1376136"/>
          </a:xfrm>
          <a:prstGeom prst="rect">
            <a:avLst/>
          </a:prstGeom>
          <a:solidFill>
            <a:srgbClr val="51D4FF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7493508" y="3957122"/>
            <a:ext cx="1688592" cy="1106877"/>
            <a:chOff x="7493508" y="3957122"/>
            <a:chExt cx="1688592" cy="1106877"/>
          </a:xfrm>
        </p:grpSpPr>
        <p:sp>
          <p:nvSpPr>
            <p:cNvPr id="27" name="TextBox 26"/>
            <p:cNvSpPr txBox="1"/>
            <p:nvPr userDrawn="1"/>
          </p:nvSpPr>
          <p:spPr>
            <a:xfrm>
              <a:off x="7493508" y="4756222"/>
              <a:ext cx="1688592" cy="307777"/>
            </a:xfrm>
            <a:prstGeom prst="rect">
              <a:avLst/>
            </a:prstGeom>
            <a:noFill/>
          </p:spPr>
          <p:txBody>
            <a:bodyPr wrap="square" rtlCol="1">
              <a:spAutoFit/>
            </a:bodyPr>
            <a:lstStyle/>
            <a:p>
              <a:pPr algn="ctr"/>
              <a:r>
                <a:rPr lang="fa-IR" sz="1400" b="1" dirty="0" smtClean="0">
                  <a:solidFill>
                    <a:srgbClr val="1945B2"/>
                  </a:solidFill>
                  <a:cs typeface="B Nazanin" pitchFamily="2" charset="-78"/>
                </a:rPr>
                <a:t>شرکت پالایش نفت جی</a:t>
              </a:r>
              <a:endParaRPr lang="fa-IR" sz="1400" b="1" dirty="0">
                <a:solidFill>
                  <a:srgbClr val="1945B2"/>
                </a:solidFill>
                <a:cs typeface="B Nazanin" pitchFamily="2" charset="-78"/>
              </a:endParaRPr>
            </a:p>
          </p:txBody>
        </p:sp>
        <p:pic>
          <p:nvPicPr>
            <p:cNvPr id="4" name="Picture 3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39088" y="3957122"/>
              <a:ext cx="828886" cy="845942"/>
            </a:xfrm>
            <a:prstGeom prst="rect">
              <a:avLst/>
            </a:prstGeom>
          </p:spPr>
        </p:pic>
      </p:grp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851" y="242747"/>
            <a:ext cx="4114650" cy="1233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20052"/>
      </p:ext>
    </p:extLst>
  </p:cSld>
  <p:clrMapOvr>
    <a:masterClrMapping/>
  </p:clrMapOvr>
  <p:transition>
    <p:wipe dir="d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Chart 15"/>
          <p:cNvGraphicFramePr/>
          <p:nvPr userDrawn="1">
            <p:extLst>
              <p:ext uri="{D42A27DB-BD31-4B8C-83A1-F6EECF244321}">
                <p14:modId xmlns:p14="http://schemas.microsoft.com/office/powerpoint/2010/main" val="628474070"/>
              </p:ext>
            </p:extLst>
          </p:nvPr>
        </p:nvGraphicFramePr>
        <p:xfrm>
          <a:off x="571500" y="1509487"/>
          <a:ext cx="8801100" cy="2805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0" name="Rectangle 29"/>
          <p:cNvSpPr/>
          <p:nvPr userDrawn="1"/>
        </p:nvSpPr>
        <p:spPr bwMode="auto">
          <a:xfrm>
            <a:off x="0" y="1146010"/>
            <a:ext cx="9906000" cy="1414853"/>
          </a:xfrm>
          <a:prstGeom prst="rect">
            <a:avLst/>
          </a:prstGeom>
          <a:solidFill>
            <a:srgbClr val="33CCFF">
              <a:alpha val="90000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0423" name="Rectangle 1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33333" y="1259426"/>
            <a:ext cx="8461829" cy="1199840"/>
          </a:xfrm>
        </p:spPr>
        <p:txBody>
          <a:bodyPr anchor="ctr" anchorCtr="0"/>
          <a:lstStyle>
            <a:lvl1pPr marL="0" indent="0" algn="ctr">
              <a:defRPr kumimoji="0" lang="en-US" sz="3400" b="1" i="0" u="none" strike="noStrike" kern="0" cap="none" spc="0" normalizeH="0" baseline="0" noProof="0" dirty="0" smtClean="0">
                <a:ln w="9525">
                  <a:noFill/>
                  <a:prstDash val="solid"/>
                </a:ln>
                <a:solidFill>
                  <a:schemeClr val="accent5">
                    <a:lumMod val="25000"/>
                  </a:schemeClr>
                </a:solidFill>
                <a:uLnTx/>
                <a:uFillTx/>
                <a:latin typeface="+mj-lt"/>
                <a:ea typeface="+mj-ea"/>
                <a:cs typeface="B Nazanin" pitchFamily="2" charset="-78"/>
              </a:defRPr>
            </a:lvl1pPr>
          </a:lstStyle>
          <a:p>
            <a:r>
              <a:rPr lang="fa-IR" dirty="0" smtClean="0"/>
              <a:t>عنوان اقدام</a:t>
            </a:r>
            <a:endParaRPr lang="en-US" dirty="0" smtClean="0"/>
          </a:p>
        </p:txBody>
      </p:sp>
      <p:sp>
        <p:nvSpPr>
          <p:cNvPr id="19" name="Rectangle 18"/>
          <p:cNvSpPr/>
          <p:nvPr userDrawn="1"/>
        </p:nvSpPr>
        <p:spPr bwMode="auto">
          <a:xfrm>
            <a:off x="733334" y="4391026"/>
            <a:ext cx="8461829" cy="2279488"/>
          </a:xfrm>
          <a:prstGeom prst="rect">
            <a:avLst/>
          </a:prstGeom>
          <a:solidFill>
            <a:schemeClr val="accent5">
              <a:lumMod val="2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Oval 22"/>
          <p:cNvSpPr/>
          <p:nvPr userDrawn="1"/>
        </p:nvSpPr>
        <p:spPr bwMode="auto">
          <a:xfrm>
            <a:off x="8911019" y="129875"/>
            <a:ext cx="828000" cy="828000"/>
          </a:xfrm>
          <a:prstGeom prst="ellipse">
            <a:avLst/>
          </a:prstGeom>
          <a:solidFill>
            <a:srgbClr val="33CCFF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4" name="Picture 23"/>
          <p:cNvPicPr>
            <a:picLocks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6756" y="205632"/>
            <a:ext cx="648000" cy="648000"/>
          </a:xfrm>
          <a:prstGeom prst="rect">
            <a:avLst/>
          </a:prstGeom>
        </p:spPr>
      </p:pic>
      <p:sp>
        <p:nvSpPr>
          <p:cNvPr id="2" name="TextBox 1"/>
          <p:cNvSpPr txBox="1"/>
          <p:nvPr userDrawn="1"/>
        </p:nvSpPr>
        <p:spPr>
          <a:xfrm>
            <a:off x="3740687" y="669699"/>
            <a:ext cx="2356925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r" rtl="1"/>
            <a:r>
              <a:rPr lang="fa-IR" sz="2000" b="1" dirty="0" smtClean="0">
                <a:solidFill>
                  <a:schemeClr val="accent5">
                    <a:lumMod val="25000"/>
                  </a:schemeClr>
                </a:solidFill>
                <a:cs typeface="B Nazanin" panose="00000400000000000000" pitchFamily="2" charset="-78"/>
              </a:rPr>
              <a:t>عنوان اقدام استراتژیک:</a:t>
            </a:r>
            <a:endParaRPr lang="fa-IR" sz="2000" b="1" dirty="0">
              <a:solidFill>
                <a:schemeClr val="accent5">
                  <a:lumMod val="25000"/>
                </a:schemeClr>
              </a:solidFill>
              <a:cs typeface="B Nazanin" panose="00000400000000000000" pitchFamily="2" charset="-78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4578" y="4862607"/>
            <a:ext cx="4795366" cy="1119093"/>
          </a:xfrm>
          <a:prstGeom prst="rect">
            <a:avLst/>
          </a:prstGeom>
        </p:spPr>
      </p:pic>
    </p:spTree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Chart 15"/>
          <p:cNvGraphicFramePr/>
          <p:nvPr userDrawn="1">
            <p:extLst/>
          </p:nvPr>
        </p:nvGraphicFramePr>
        <p:xfrm>
          <a:off x="571500" y="1509487"/>
          <a:ext cx="8801100" cy="2805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0" name="Rectangle 29"/>
          <p:cNvSpPr/>
          <p:nvPr userDrawn="1"/>
        </p:nvSpPr>
        <p:spPr bwMode="auto">
          <a:xfrm>
            <a:off x="0" y="1146010"/>
            <a:ext cx="9906000" cy="1414853"/>
          </a:xfrm>
          <a:prstGeom prst="rect">
            <a:avLst/>
          </a:prstGeom>
          <a:solidFill>
            <a:srgbClr val="33CCFF">
              <a:alpha val="90000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0423" name="Rectangle 1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33333" y="1259426"/>
            <a:ext cx="8461829" cy="1199840"/>
          </a:xfrm>
        </p:spPr>
        <p:txBody>
          <a:bodyPr anchor="ctr" anchorCtr="0"/>
          <a:lstStyle>
            <a:lvl1pPr marL="0" indent="0" algn="ctr">
              <a:defRPr kumimoji="0" lang="en-US" sz="3400" b="1" i="0" u="none" strike="noStrike" kern="0" cap="none" spc="0" normalizeH="0" baseline="0" noProof="0" dirty="0" smtClean="0">
                <a:ln w="9525">
                  <a:noFill/>
                  <a:prstDash val="solid"/>
                </a:ln>
                <a:solidFill>
                  <a:schemeClr val="accent5">
                    <a:lumMod val="25000"/>
                  </a:schemeClr>
                </a:solidFill>
                <a:uLnTx/>
                <a:uFillTx/>
                <a:latin typeface="+mj-lt"/>
                <a:ea typeface="+mj-ea"/>
                <a:cs typeface="B Nazanin" pitchFamily="2" charset="-78"/>
              </a:defRPr>
            </a:lvl1pPr>
          </a:lstStyle>
          <a:p>
            <a:r>
              <a:rPr lang="fa-IR" dirty="0" smtClean="0"/>
              <a:t>عنوان </a:t>
            </a:r>
            <a:r>
              <a:rPr lang="fa-IR" dirty="0" err="1" smtClean="0"/>
              <a:t>سنجه</a:t>
            </a:r>
            <a:endParaRPr lang="en-US" dirty="0" smtClean="0"/>
          </a:p>
        </p:txBody>
      </p:sp>
      <p:sp>
        <p:nvSpPr>
          <p:cNvPr id="19" name="Rectangle 18"/>
          <p:cNvSpPr/>
          <p:nvPr userDrawn="1"/>
        </p:nvSpPr>
        <p:spPr bwMode="auto">
          <a:xfrm>
            <a:off x="733334" y="4391026"/>
            <a:ext cx="8461829" cy="2279488"/>
          </a:xfrm>
          <a:prstGeom prst="rect">
            <a:avLst/>
          </a:prstGeom>
          <a:solidFill>
            <a:schemeClr val="accent5">
              <a:lumMod val="2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Oval 22"/>
          <p:cNvSpPr/>
          <p:nvPr userDrawn="1"/>
        </p:nvSpPr>
        <p:spPr bwMode="auto">
          <a:xfrm>
            <a:off x="8911019" y="129875"/>
            <a:ext cx="828000" cy="828000"/>
          </a:xfrm>
          <a:prstGeom prst="ellipse">
            <a:avLst/>
          </a:prstGeom>
          <a:solidFill>
            <a:srgbClr val="33CCFF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4" name="Picture 23"/>
          <p:cNvPicPr>
            <a:picLocks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6756" y="205632"/>
            <a:ext cx="648000" cy="648000"/>
          </a:xfrm>
          <a:prstGeom prst="rect">
            <a:avLst/>
          </a:prstGeom>
        </p:spPr>
      </p:pic>
      <p:sp>
        <p:nvSpPr>
          <p:cNvPr id="2" name="TextBox 1"/>
          <p:cNvSpPr txBox="1"/>
          <p:nvPr userDrawn="1"/>
        </p:nvSpPr>
        <p:spPr>
          <a:xfrm>
            <a:off x="3740687" y="669699"/>
            <a:ext cx="2356925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r" rtl="1"/>
            <a:r>
              <a:rPr lang="fa-IR" sz="2000" b="1" dirty="0" smtClean="0">
                <a:solidFill>
                  <a:schemeClr val="accent5">
                    <a:lumMod val="25000"/>
                  </a:schemeClr>
                </a:solidFill>
                <a:cs typeface="B Nazanin" panose="00000400000000000000" pitchFamily="2" charset="-78"/>
              </a:rPr>
              <a:t>عنوان </a:t>
            </a:r>
            <a:r>
              <a:rPr lang="fa-IR" sz="2000" b="1" dirty="0" err="1" smtClean="0">
                <a:solidFill>
                  <a:schemeClr val="accent5">
                    <a:lumMod val="25000"/>
                  </a:schemeClr>
                </a:solidFill>
                <a:cs typeface="B Nazanin" panose="00000400000000000000" pitchFamily="2" charset="-78"/>
              </a:rPr>
              <a:t>سنجه</a:t>
            </a:r>
            <a:r>
              <a:rPr lang="fa-IR" sz="2000" b="1" dirty="0" smtClean="0">
                <a:solidFill>
                  <a:schemeClr val="accent5">
                    <a:lumMod val="25000"/>
                  </a:schemeClr>
                </a:solidFill>
                <a:cs typeface="B Nazanin" panose="00000400000000000000" pitchFamily="2" charset="-78"/>
              </a:rPr>
              <a:t> استراتژیک:</a:t>
            </a:r>
            <a:endParaRPr lang="fa-IR" sz="2000" b="1" dirty="0">
              <a:solidFill>
                <a:schemeClr val="accent5">
                  <a:lumMod val="25000"/>
                </a:schemeClr>
              </a:solidFill>
              <a:cs typeface="B Nazanin" panose="00000400000000000000" pitchFamily="2" charset="-78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9403" y="4720770"/>
            <a:ext cx="5405293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212399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46063" y="1242264"/>
            <a:ext cx="9328150" cy="5099074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</a:bodyPr>
          <a:lstStyle>
            <a:lvl1pPr algn="just">
              <a:defRPr lang="en-US" sz="2000">
                <a:solidFill>
                  <a:schemeClr val="tx1"/>
                </a:solidFill>
                <a:latin typeface="+mn-lt"/>
                <a:ea typeface="+mn-ea"/>
                <a:cs typeface="B Nazanin" pitchFamily="2" charset="-78"/>
              </a:defRPr>
            </a:lvl1pPr>
            <a:lvl2pPr algn="just">
              <a:defRPr/>
            </a:lvl2pPr>
            <a:lvl3pPr algn="just">
              <a:defRPr/>
            </a:lvl3pPr>
            <a:lvl4pPr algn="just">
              <a:defRPr/>
            </a:lvl4pPr>
            <a:lvl5pPr algn="just">
              <a:defRPr/>
            </a:lvl5pPr>
          </a:lstStyle>
          <a:p>
            <a:pPr marL="225425" lvl="0" indent="-225425" algn="r" rtl="1" eaLnBrk="0" fontAlgn="base" hangingPunc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itchFamily="2" charset="2"/>
              <a:buChar char="§"/>
            </a:pPr>
            <a:r>
              <a:rPr lang="fa-IR" smtClean="0"/>
              <a:t>متن</a:t>
            </a:r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758458" y="724293"/>
            <a:ext cx="8241245" cy="382445"/>
          </a:xfrm>
        </p:spPr>
        <p:txBody>
          <a:bodyPr anchor="ctr" anchorCtr="0"/>
          <a:lstStyle>
            <a:lvl1pPr algn="r" rtl="1">
              <a:buNone/>
              <a:defRPr lang="en-US" sz="2000" b="1" i="0" baseline="0" dirty="0" smtClean="0">
                <a:solidFill>
                  <a:srgbClr val="6699FF"/>
                </a:solidFill>
                <a:latin typeface="+mj-lt"/>
                <a:ea typeface="+mj-ea"/>
                <a:cs typeface="B Nazanin" pitchFamily="2" charset="-78"/>
              </a:defRPr>
            </a:lvl1pPr>
          </a:lstStyle>
          <a:p>
            <a:pPr lvl="0"/>
            <a:r>
              <a:rPr lang="fa-IR" smtClean="0"/>
              <a:t>عنوان فرعي</a:t>
            </a:r>
            <a:endParaRPr lang="en-US" dirty="0" smtClean="0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3457574" y="198120"/>
            <a:ext cx="5762625" cy="538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a-IR" smtClean="0"/>
              <a:t>عنوان اصلي</a:t>
            </a:r>
            <a:endParaRPr lang="en-US" dirty="0" smtClean="0"/>
          </a:p>
        </p:txBody>
      </p:sp>
    </p:spTree>
  </p:cSld>
  <p:clrMapOvr>
    <a:masterClrMapping/>
  </p:clrMapOvr>
  <p:transition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3457574" y="198120"/>
            <a:ext cx="5762625" cy="538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a-IR" smtClean="0"/>
              <a:t>عنوان اصلي</a:t>
            </a:r>
            <a:endParaRPr lang="en-US" dirty="0" smtClean="0"/>
          </a:p>
        </p:txBody>
      </p:sp>
    </p:spTree>
  </p:cSld>
  <p:clrMapOvr>
    <a:masterClrMapping/>
  </p:clrMapOvr>
  <p:transition>
    <p:wipe dir="d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46"/>
          <a:stretch/>
        </p:blipFill>
        <p:spPr>
          <a:xfrm>
            <a:off x="558118" y="1267425"/>
            <a:ext cx="8754866" cy="5228625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 bwMode="auto">
          <a:xfrm>
            <a:off x="0" y="3897449"/>
            <a:ext cx="9906000" cy="1367971"/>
          </a:xfrm>
          <a:prstGeom prst="rect">
            <a:avLst/>
          </a:prstGeom>
          <a:solidFill>
            <a:srgbClr val="1945B2">
              <a:alpha val="85000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7493000" y="3892550"/>
            <a:ext cx="1701800" cy="1376136"/>
          </a:xfrm>
          <a:prstGeom prst="rect">
            <a:avLst/>
          </a:prstGeom>
          <a:solidFill>
            <a:srgbClr val="51D4FF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0422" name="Rectangle 20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571999" y="4639103"/>
            <a:ext cx="2763199" cy="535691"/>
          </a:xfrm>
        </p:spPr>
        <p:txBody>
          <a:bodyPr/>
          <a:lstStyle>
            <a:lvl1pPr marL="53975" indent="0" algn="r" rtl="0">
              <a:buFont typeface="Wingdings" pitchFamily="28" charset="2"/>
              <a:buNone/>
              <a:defRPr kumimoji="0" lang="en-US" sz="3200" b="1" i="0" u="none" strike="noStrike" kern="0" cap="none" spc="0" normalizeH="0" baseline="0" noProof="0" dirty="0" smtClean="0">
                <a:ln w="9525">
                  <a:noFill/>
                  <a:prstDash val="solid"/>
                </a:ln>
                <a:solidFill>
                  <a:srgbClr val="51D4FF"/>
                </a:solidFill>
                <a:effectLst/>
                <a:uLnTx/>
                <a:uFillTx/>
                <a:latin typeface="+mj-lt"/>
                <a:ea typeface="+mj-ea"/>
                <a:cs typeface="B Nazanin" pitchFamily="2" charset="-78"/>
              </a:defRPr>
            </a:lvl1pPr>
          </a:lstStyle>
          <a:p>
            <a:pPr marL="0" marR="0" lvl="0" indent="0" algn="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a-IR" dirty="0" smtClean="0"/>
              <a:t>معاونت بازرگانی</a:t>
            </a:r>
            <a:endParaRPr lang="en-US" dirty="0" smtClean="0"/>
          </a:p>
        </p:txBody>
      </p:sp>
      <p:sp>
        <p:nvSpPr>
          <p:cNvPr id="60423" name="Rectangle 1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66057" y="3966648"/>
            <a:ext cx="6769142" cy="610548"/>
          </a:xfrm>
        </p:spPr>
        <p:txBody>
          <a:bodyPr/>
          <a:lstStyle>
            <a:lvl1pPr marL="0" indent="0">
              <a:defRPr kumimoji="0" lang="en-US" sz="4000" b="1" i="0" u="none" strike="noStrike" kern="0" cap="none" spc="0" normalizeH="0" baseline="0" noProof="0" dirty="0" smtClean="0">
                <a:ln w="9525">
                  <a:noFill/>
                  <a:prstDash val="solid"/>
                </a:ln>
                <a:solidFill>
                  <a:srgbClr val="51D4FF"/>
                </a:solidFill>
                <a:uLnTx/>
                <a:uFillTx/>
                <a:latin typeface="+mj-lt"/>
                <a:ea typeface="+mj-ea"/>
                <a:cs typeface="B Nazanin" pitchFamily="2" charset="-78"/>
              </a:defRPr>
            </a:lvl1pPr>
          </a:lstStyle>
          <a:p>
            <a:r>
              <a:rPr lang="fa-IR" dirty="0" smtClean="0"/>
              <a:t>گزارش پیشرفت اقدامات استراتژیک</a:t>
            </a:r>
            <a:endParaRPr lang="en-US" dirty="0" smtClean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7493508" y="3957122"/>
            <a:ext cx="1688592" cy="1106877"/>
            <a:chOff x="7493508" y="3957122"/>
            <a:chExt cx="1688592" cy="1106877"/>
          </a:xfrm>
        </p:grpSpPr>
        <p:sp>
          <p:nvSpPr>
            <p:cNvPr id="27" name="TextBox 26"/>
            <p:cNvSpPr txBox="1"/>
            <p:nvPr userDrawn="1"/>
          </p:nvSpPr>
          <p:spPr>
            <a:xfrm>
              <a:off x="7493508" y="4756222"/>
              <a:ext cx="1688592" cy="307777"/>
            </a:xfrm>
            <a:prstGeom prst="rect">
              <a:avLst/>
            </a:prstGeom>
            <a:noFill/>
          </p:spPr>
          <p:txBody>
            <a:bodyPr wrap="square" rtlCol="1">
              <a:spAutoFit/>
            </a:bodyPr>
            <a:lstStyle/>
            <a:p>
              <a:pPr algn="ctr"/>
              <a:r>
                <a:rPr lang="fa-IR" sz="1400" b="1" dirty="0" smtClean="0">
                  <a:solidFill>
                    <a:srgbClr val="1945B2"/>
                  </a:solidFill>
                  <a:cs typeface="B Nazanin" pitchFamily="2" charset="-78"/>
                </a:rPr>
                <a:t>شرکت پالایش نفت جی</a:t>
              </a:r>
              <a:endParaRPr lang="fa-IR" sz="1400" b="1" dirty="0">
                <a:solidFill>
                  <a:srgbClr val="1945B2"/>
                </a:solidFill>
                <a:cs typeface="B Nazanin" pitchFamily="2" charset="-78"/>
              </a:endParaRPr>
            </a:p>
          </p:txBody>
        </p:sp>
        <p:pic>
          <p:nvPicPr>
            <p:cNvPr id="4" name="Picture 3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39088" y="3957122"/>
              <a:ext cx="828886" cy="845942"/>
            </a:xfrm>
            <a:prstGeom prst="rect">
              <a:avLst/>
            </a:prstGeom>
          </p:spPr>
        </p:pic>
      </p:grp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22" y="271321"/>
            <a:ext cx="4009465" cy="935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806665"/>
      </p:ext>
    </p:extLst>
  </p:cSld>
  <p:clrMapOvr>
    <a:masterClrMapping/>
  </p:clrMapOvr>
  <p:transition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46"/>
          <a:stretch/>
        </p:blipFill>
        <p:spPr>
          <a:xfrm>
            <a:off x="558118" y="1267425"/>
            <a:ext cx="8754866" cy="5228625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 bwMode="auto">
          <a:xfrm>
            <a:off x="0" y="3897449"/>
            <a:ext cx="9906000" cy="1367971"/>
          </a:xfrm>
          <a:prstGeom prst="rect">
            <a:avLst/>
          </a:prstGeom>
          <a:solidFill>
            <a:srgbClr val="1945B2">
              <a:alpha val="85000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7493000" y="3892550"/>
            <a:ext cx="1701800" cy="1376136"/>
          </a:xfrm>
          <a:prstGeom prst="rect">
            <a:avLst/>
          </a:prstGeom>
          <a:solidFill>
            <a:srgbClr val="51D4FF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7493508" y="3957122"/>
            <a:ext cx="1688592" cy="1106877"/>
            <a:chOff x="7493508" y="3957122"/>
            <a:chExt cx="1688592" cy="1106877"/>
          </a:xfrm>
        </p:grpSpPr>
        <p:sp>
          <p:nvSpPr>
            <p:cNvPr id="27" name="TextBox 26"/>
            <p:cNvSpPr txBox="1"/>
            <p:nvPr userDrawn="1"/>
          </p:nvSpPr>
          <p:spPr>
            <a:xfrm>
              <a:off x="7493508" y="4756222"/>
              <a:ext cx="1688592" cy="307777"/>
            </a:xfrm>
            <a:prstGeom prst="rect">
              <a:avLst/>
            </a:prstGeom>
            <a:noFill/>
          </p:spPr>
          <p:txBody>
            <a:bodyPr wrap="square" rtlCol="1">
              <a:spAutoFit/>
            </a:bodyPr>
            <a:lstStyle/>
            <a:p>
              <a:pPr algn="ctr"/>
              <a:r>
                <a:rPr lang="fa-IR" sz="1400" b="1" dirty="0" smtClean="0">
                  <a:solidFill>
                    <a:srgbClr val="1945B2"/>
                  </a:solidFill>
                  <a:cs typeface="B Nazanin" pitchFamily="2" charset="-78"/>
                </a:rPr>
                <a:t>شرکت پالایش نفت جی</a:t>
              </a:r>
              <a:endParaRPr lang="fa-IR" sz="1400" b="1" dirty="0">
                <a:solidFill>
                  <a:srgbClr val="1945B2"/>
                </a:solidFill>
                <a:cs typeface="B Nazanin" pitchFamily="2" charset="-78"/>
              </a:endParaRPr>
            </a:p>
          </p:txBody>
        </p:sp>
        <p:pic>
          <p:nvPicPr>
            <p:cNvPr id="4" name="Picture 3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39088" y="3957122"/>
              <a:ext cx="828886" cy="845942"/>
            </a:xfrm>
            <a:prstGeom prst="rect">
              <a:avLst/>
            </a:prstGeom>
          </p:spPr>
        </p:pic>
      </p:grp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851" y="242747"/>
            <a:ext cx="4114650" cy="1233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026541"/>
      </p:ext>
    </p:extLst>
  </p:cSld>
  <p:clrMapOvr>
    <a:masterClrMapping/>
  </p:clrMapOvr>
  <p:transition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Chart 15"/>
          <p:cNvGraphicFramePr/>
          <p:nvPr userDrawn="1">
            <p:extLst/>
          </p:nvPr>
        </p:nvGraphicFramePr>
        <p:xfrm>
          <a:off x="571500" y="1509487"/>
          <a:ext cx="8801100" cy="2805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0" name="Rectangle 29"/>
          <p:cNvSpPr/>
          <p:nvPr userDrawn="1"/>
        </p:nvSpPr>
        <p:spPr bwMode="auto">
          <a:xfrm>
            <a:off x="0" y="1146010"/>
            <a:ext cx="9906000" cy="1414853"/>
          </a:xfrm>
          <a:prstGeom prst="rect">
            <a:avLst/>
          </a:prstGeom>
          <a:solidFill>
            <a:srgbClr val="33CCFF">
              <a:alpha val="90000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0423" name="Rectangle 19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33333" y="1259426"/>
            <a:ext cx="8461829" cy="1199840"/>
          </a:xfrm>
        </p:spPr>
        <p:txBody>
          <a:bodyPr anchor="ctr" anchorCtr="0"/>
          <a:lstStyle>
            <a:lvl1pPr marL="0" indent="0" algn="ctr">
              <a:defRPr kumimoji="0" lang="en-US" sz="3400" b="1" i="0" u="none" strike="noStrike" kern="0" cap="none" spc="0" normalizeH="0" baseline="0" noProof="0" dirty="0" smtClean="0">
                <a:ln w="9525">
                  <a:noFill/>
                  <a:prstDash val="solid"/>
                </a:ln>
                <a:solidFill>
                  <a:schemeClr val="accent5">
                    <a:lumMod val="25000"/>
                  </a:schemeClr>
                </a:solidFill>
                <a:uLnTx/>
                <a:uFillTx/>
                <a:latin typeface="+mj-lt"/>
                <a:ea typeface="+mj-ea"/>
                <a:cs typeface="B Nazanin" pitchFamily="2" charset="-78"/>
              </a:defRPr>
            </a:lvl1pPr>
          </a:lstStyle>
          <a:p>
            <a:r>
              <a:rPr lang="fa-IR" dirty="0" smtClean="0"/>
              <a:t>عنوان اقدام</a:t>
            </a:r>
            <a:endParaRPr lang="en-US" dirty="0" smtClean="0"/>
          </a:p>
        </p:txBody>
      </p:sp>
      <p:sp>
        <p:nvSpPr>
          <p:cNvPr id="19" name="Rectangle 18"/>
          <p:cNvSpPr/>
          <p:nvPr userDrawn="1"/>
        </p:nvSpPr>
        <p:spPr bwMode="auto">
          <a:xfrm>
            <a:off x="733334" y="4391026"/>
            <a:ext cx="8461829" cy="2279488"/>
          </a:xfrm>
          <a:prstGeom prst="rect">
            <a:avLst/>
          </a:prstGeom>
          <a:solidFill>
            <a:schemeClr val="accent5">
              <a:lumMod val="2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Oval 22"/>
          <p:cNvSpPr/>
          <p:nvPr userDrawn="1"/>
        </p:nvSpPr>
        <p:spPr bwMode="auto">
          <a:xfrm>
            <a:off x="8911019" y="129875"/>
            <a:ext cx="828000" cy="828000"/>
          </a:xfrm>
          <a:prstGeom prst="ellipse">
            <a:avLst/>
          </a:prstGeom>
          <a:solidFill>
            <a:srgbClr val="33CCFF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4" name="Picture 23"/>
          <p:cNvPicPr>
            <a:picLocks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6756" y="205632"/>
            <a:ext cx="648000" cy="648000"/>
          </a:xfrm>
          <a:prstGeom prst="rect">
            <a:avLst/>
          </a:prstGeom>
        </p:spPr>
      </p:pic>
      <p:sp>
        <p:nvSpPr>
          <p:cNvPr id="2" name="TextBox 1"/>
          <p:cNvSpPr txBox="1"/>
          <p:nvPr userDrawn="1"/>
        </p:nvSpPr>
        <p:spPr>
          <a:xfrm>
            <a:off x="3740687" y="669699"/>
            <a:ext cx="2356925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r" rtl="1"/>
            <a:r>
              <a:rPr lang="fa-IR" sz="2000" b="1" dirty="0" smtClean="0">
                <a:solidFill>
                  <a:schemeClr val="accent5">
                    <a:lumMod val="25000"/>
                  </a:schemeClr>
                </a:solidFill>
                <a:cs typeface="B Nazanin" panose="00000400000000000000" pitchFamily="2" charset="-78"/>
              </a:rPr>
              <a:t>عنوان اقدام استراتژیک:</a:t>
            </a:r>
            <a:endParaRPr lang="fa-IR" sz="2000" b="1" dirty="0">
              <a:solidFill>
                <a:schemeClr val="accent5">
                  <a:lumMod val="25000"/>
                </a:schemeClr>
              </a:solidFill>
              <a:cs typeface="B Nazanin" panose="00000400000000000000" pitchFamily="2" charset="-78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4578" y="4862607"/>
            <a:ext cx="4795366" cy="1119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645595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ounded Rectangle 18"/>
          <p:cNvSpPr/>
          <p:nvPr/>
        </p:nvSpPr>
        <p:spPr bwMode="auto">
          <a:xfrm>
            <a:off x="3114675" y="205740"/>
            <a:ext cx="5546725" cy="540000"/>
          </a:xfrm>
          <a:prstGeom prst="roundRect">
            <a:avLst>
              <a:gd name="adj" fmla="val 50000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fa-IR" sz="2400" kern="1200" smtClean="0">
              <a:solidFill>
                <a:schemeClr val="tx1"/>
              </a:solidFill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3219450" y="205740"/>
            <a:ext cx="6503670" cy="540000"/>
          </a:xfrm>
          <a:prstGeom prst="roundRect">
            <a:avLst>
              <a:gd name="adj" fmla="val 50000"/>
            </a:avLst>
          </a:prstGeom>
          <a:solidFill>
            <a:srgbClr val="6699FF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fa-IR" sz="2400" kern="1200" smtClean="0">
              <a:solidFill>
                <a:schemeClr val="tx1"/>
              </a:solidFill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0" y="6606000"/>
            <a:ext cx="9906000" cy="252000"/>
          </a:xfrm>
          <a:prstGeom prst="rect">
            <a:avLst/>
          </a:prstGeom>
          <a:solidFill>
            <a:srgbClr val="6699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0" y="6652219"/>
            <a:ext cx="9907200" cy="36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28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6063" y="1127347"/>
            <a:ext cx="9328150" cy="524395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a-IR" smtClean="0"/>
              <a:t>متن</a:t>
            </a:r>
          </a:p>
          <a:p>
            <a:pPr lvl="0"/>
            <a:endParaRPr lang="en-US" dirty="0" smtClean="0"/>
          </a:p>
        </p:txBody>
      </p:sp>
      <p:sp>
        <p:nvSpPr>
          <p:cNvPr id="1030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3457574" y="198120"/>
            <a:ext cx="5762625" cy="538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a-IR" smtClean="0"/>
              <a:t>عنوان اصلي</a:t>
            </a:r>
            <a:endParaRPr lang="en-US" dirty="0" smtClean="0"/>
          </a:p>
        </p:txBody>
      </p:sp>
      <p:sp>
        <p:nvSpPr>
          <p:cNvPr id="14" name="Oval 9"/>
          <p:cNvSpPr>
            <a:spLocks noChangeArrowheads="1"/>
          </p:cNvSpPr>
          <p:nvPr/>
        </p:nvSpPr>
        <p:spPr bwMode="auto">
          <a:xfrm>
            <a:off x="9280072" y="289959"/>
            <a:ext cx="360000" cy="360000"/>
          </a:xfrm>
          <a:prstGeom prst="ellipse">
            <a:avLst/>
          </a:prstGeom>
          <a:solidFill>
            <a:srgbClr val="33CCFF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1" hangingPunct="1"/>
            <a:endParaRPr lang="fa-IR" sz="2400">
              <a:latin typeface="Times New Roman" pitchFamily="18" charset="0"/>
            </a:endParaRPr>
          </a:p>
        </p:txBody>
      </p:sp>
      <p:sp>
        <p:nvSpPr>
          <p:cNvPr id="8" name="Date Placeholder 3"/>
          <p:cNvSpPr txBox="1">
            <a:spLocks/>
          </p:cNvSpPr>
          <p:nvPr/>
        </p:nvSpPr>
        <p:spPr>
          <a:xfrm>
            <a:off x="7391781" y="6703695"/>
            <a:ext cx="2514219" cy="144780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F.Khanbabaie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 – 1397/08</a:t>
            </a:r>
          </a:p>
        </p:txBody>
      </p:sp>
      <p:sp>
        <p:nvSpPr>
          <p:cNvPr id="12" name="Oval 11"/>
          <p:cNvSpPr/>
          <p:nvPr/>
        </p:nvSpPr>
        <p:spPr bwMode="auto">
          <a:xfrm>
            <a:off x="67668" y="6421164"/>
            <a:ext cx="360000" cy="360000"/>
          </a:xfrm>
          <a:prstGeom prst="ellipse">
            <a:avLst/>
          </a:prstGeom>
          <a:solidFill>
            <a:srgbClr val="6699FF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1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439738A2-4C05-4F29-9652-32670CBFDFB5}" type="slidenum">
              <a:rPr kumimoji="0" lang="en-US" sz="11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B Nazanin" pitchFamily="2" charset="-78"/>
              </a:rPr>
              <a:pPr marL="0" marR="0" indent="0" algn="ctr" defTabSz="914400" rtl="1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fa-IR" sz="1400" b="1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B Nazanin" pitchFamily="2" charset="-78"/>
            </a:endParaRPr>
          </a:p>
        </p:txBody>
      </p:sp>
      <p:sp>
        <p:nvSpPr>
          <p:cNvPr id="15" name="Oval 14"/>
          <p:cNvSpPr/>
          <p:nvPr/>
        </p:nvSpPr>
        <p:spPr bwMode="auto">
          <a:xfrm>
            <a:off x="120650" y="95250"/>
            <a:ext cx="828000" cy="828000"/>
          </a:xfrm>
          <a:prstGeom prst="ellipse">
            <a:avLst/>
          </a:prstGeom>
          <a:solidFill>
            <a:srgbClr val="33CCFF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2" name="Picture 21"/>
          <p:cNvPicPr>
            <a:picLocks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387" y="171007"/>
            <a:ext cx="648000" cy="648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9" r:id="rId2"/>
    <p:sldLayoutId id="2147483928" r:id="rId3"/>
    <p:sldLayoutId id="2147483930" r:id="rId4"/>
    <p:sldLayoutId id="2147483924" r:id="rId5"/>
    <p:sldLayoutId id="2147483927" r:id="rId6"/>
  </p:sldLayoutIdLst>
  <p:transition>
    <p:wipe dir="d"/>
  </p:transition>
  <p:hf sldNum="0" hdr="0"/>
  <p:txStyles>
    <p:titleStyle>
      <a:lvl1pPr algn="r" rtl="1" eaLnBrk="0" fontAlgn="base" hangingPunct="0">
        <a:spcBef>
          <a:spcPct val="0"/>
        </a:spcBef>
        <a:spcAft>
          <a:spcPct val="0"/>
        </a:spcAft>
        <a:defRPr sz="2400" b="1" baseline="0">
          <a:solidFill>
            <a:schemeClr val="bg1"/>
          </a:solidFill>
          <a:latin typeface="+mj-lt"/>
          <a:ea typeface="+mj-ea"/>
          <a:cs typeface="B Nazanin" pitchFamily="2" charset="-7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9pPr>
    </p:titleStyle>
    <p:bodyStyle>
      <a:lvl1pPr marL="225425" indent="-225425" algn="r" rtl="1" eaLnBrk="0" fontAlgn="base" hangingPunct="0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B Nazanin" pitchFamily="2" charset="-78"/>
        </a:defRPr>
      </a:lvl1pPr>
      <a:lvl2pPr marL="804863" indent="-285750" algn="r" rtl="1" eaLnBrk="0" fontAlgn="base" hangingPunct="0">
        <a:spcBef>
          <a:spcPct val="25000"/>
        </a:spcBef>
        <a:spcAft>
          <a:spcPct val="0"/>
        </a:spcAft>
        <a:buClr>
          <a:schemeClr val="tx1"/>
        </a:buClr>
        <a:buChar char="—"/>
        <a:defRPr sz="2000">
          <a:solidFill>
            <a:schemeClr val="tx1"/>
          </a:solidFill>
          <a:latin typeface="+mn-lt"/>
          <a:cs typeface="B Nazanin" pitchFamily="2" charset="-78"/>
        </a:defRPr>
      </a:lvl2pPr>
      <a:lvl3pPr marL="1147763" indent="-228600" algn="r" rtl="1" eaLnBrk="0" fontAlgn="base" hangingPunct="0">
        <a:spcBef>
          <a:spcPct val="25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  <a:cs typeface="B Nazanin" pitchFamily="2" charset="-78"/>
        </a:defRPr>
      </a:lvl3pPr>
      <a:lvl4pPr marL="1490663" indent="-228600" algn="r" rtl="1" eaLnBrk="0" fontAlgn="base" hangingPunct="0">
        <a:spcBef>
          <a:spcPct val="25000"/>
        </a:spcBef>
        <a:spcAft>
          <a:spcPct val="0"/>
        </a:spcAft>
        <a:buClr>
          <a:schemeClr val="tx1"/>
        </a:buClr>
        <a:buChar char="-"/>
        <a:defRPr sz="2000">
          <a:solidFill>
            <a:schemeClr val="tx1"/>
          </a:solidFill>
          <a:latin typeface="+mn-lt"/>
          <a:cs typeface="B Nazanin" pitchFamily="2" charset="-78"/>
        </a:defRPr>
      </a:lvl4pPr>
      <a:lvl5pPr marL="1833563" indent="-228600" algn="r" rtl="1" eaLnBrk="0" fontAlgn="base" hangingPunct="0">
        <a:spcBef>
          <a:spcPct val="25000"/>
        </a:spcBef>
        <a:spcAft>
          <a:spcPct val="0"/>
        </a:spcAft>
        <a:buClr>
          <a:srgbClr val="003399"/>
        </a:buClr>
        <a:defRPr sz="2000">
          <a:solidFill>
            <a:schemeClr val="tx1"/>
          </a:solidFill>
          <a:latin typeface="+mn-lt"/>
          <a:cs typeface="B Nazanin" pitchFamily="2" charset="-78"/>
        </a:defRPr>
      </a:lvl5pPr>
      <a:lvl6pPr marL="2290763" indent="-228600" algn="l" rtl="0" fontAlgn="base">
        <a:spcBef>
          <a:spcPct val="25000"/>
        </a:spcBef>
        <a:spcAft>
          <a:spcPct val="0"/>
        </a:spcAft>
        <a:buClr>
          <a:srgbClr val="003399"/>
        </a:buClr>
        <a:defRPr sz="1000">
          <a:solidFill>
            <a:schemeClr val="tx1"/>
          </a:solidFill>
          <a:latin typeface="+mn-lt"/>
        </a:defRPr>
      </a:lvl6pPr>
      <a:lvl7pPr marL="2747963" indent="-228600" algn="l" rtl="0" fontAlgn="base">
        <a:spcBef>
          <a:spcPct val="25000"/>
        </a:spcBef>
        <a:spcAft>
          <a:spcPct val="0"/>
        </a:spcAft>
        <a:buClr>
          <a:srgbClr val="003399"/>
        </a:buClr>
        <a:defRPr sz="1000">
          <a:solidFill>
            <a:schemeClr val="tx1"/>
          </a:solidFill>
          <a:latin typeface="+mn-lt"/>
        </a:defRPr>
      </a:lvl7pPr>
      <a:lvl8pPr marL="3205163" indent="-228600" algn="l" rtl="0" fontAlgn="base">
        <a:spcBef>
          <a:spcPct val="25000"/>
        </a:spcBef>
        <a:spcAft>
          <a:spcPct val="0"/>
        </a:spcAft>
        <a:buClr>
          <a:srgbClr val="003399"/>
        </a:buClr>
        <a:defRPr sz="1000">
          <a:solidFill>
            <a:schemeClr val="tx1"/>
          </a:solidFill>
          <a:latin typeface="+mn-lt"/>
        </a:defRPr>
      </a:lvl8pPr>
      <a:lvl9pPr marL="3662363" indent="-228600" algn="l" rtl="0" fontAlgn="base">
        <a:spcBef>
          <a:spcPct val="25000"/>
        </a:spcBef>
        <a:spcAft>
          <a:spcPct val="0"/>
        </a:spcAft>
        <a:buClr>
          <a:srgbClr val="003399"/>
        </a:buClr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ounded Rectangle 18"/>
          <p:cNvSpPr/>
          <p:nvPr/>
        </p:nvSpPr>
        <p:spPr bwMode="auto">
          <a:xfrm>
            <a:off x="3114675" y="205740"/>
            <a:ext cx="5546725" cy="540000"/>
          </a:xfrm>
          <a:prstGeom prst="roundRect">
            <a:avLst>
              <a:gd name="adj" fmla="val 50000"/>
            </a:avLst>
          </a:prstGeom>
          <a:solidFill>
            <a:schemeClr val="bg2">
              <a:lumMod val="40000"/>
              <a:lumOff val="6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fa-IR" sz="2400" kern="1200" smtClean="0">
              <a:solidFill>
                <a:schemeClr val="tx1"/>
              </a:solidFill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3219450" y="205740"/>
            <a:ext cx="6503670" cy="540000"/>
          </a:xfrm>
          <a:prstGeom prst="roundRect">
            <a:avLst>
              <a:gd name="adj" fmla="val 50000"/>
            </a:avLst>
          </a:prstGeom>
          <a:solidFill>
            <a:srgbClr val="6699FF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fa-IR" sz="2400" kern="1200" smtClean="0">
              <a:solidFill>
                <a:schemeClr val="tx1"/>
              </a:solidFill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0" y="6606000"/>
            <a:ext cx="9906000" cy="252000"/>
          </a:xfrm>
          <a:prstGeom prst="rect">
            <a:avLst/>
          </a:prstGeom>
          <a:solidFill>
            <a:srgbClr val="6699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0" y="6652219"/>
            <a:ext cx="9907200" cy="36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28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6063" y="1127347"/>
            <a:ext cx="9328150" cy="524395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a-IR" smtClean="0"/>
              <a:t>متن</a:t>
            </a:r>
          </a:p>
          <a:p>
            <a:pPr lvl="0"/>
            <a:endParaRPr lang="en-US" dirty="0" smtClean="0"/>
          </a:p>
        </p:txBody>
      </p:sp>
      <p:sp>
        <p:nvSpPr>
          <p:cNvPr id="1030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3457574" y="198120"/>
            <a:ext cx="5762625" cy="538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a-IR" smtClean="0"/>
              <a:t>عنوان اصلي</a:t>
            </a:r>
            <a:endParaRPr lang="en-US" dirty="0" smtClean="0"/>
          </a:p>
        </p:txBody>
      </p:sp>
      <p:sp>
        <p:nvSpPr>
          <p:cNvPr id="14" name="Oval 9"/>
          <p:cNvSpPr>
            <a:spLocks noChangeArrowheads="1"/>
          </p:cNvSpPr>
          <p:nvPr/>
        </p:nvSpPr>
        <p:spPr bwMode="auto">
          <a:xfrm>
            <a:off x="9280072" y="289959"/>
            <a:ext cx="360000" cy="360000"/>
          </a:xfrm>
          <a:prstGeom prst="ellipse">
            <a:avLst/>
          </a:prstGeom>
          <a:solidFill>
            <a:srgbClr val="33CCFF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1" hangingPunct="1"/>
            <a:endParaRPr lang="fa-IR" sz="2400">
              <a:latin typeface="Times New Roman" pitchFamily="18" charset="0"/>
            </a:endParaRPr>
          </a:p>
        </p:txBody>
      </p:sp>
      <p:sp>
        <p:nvSpPr>
          <p:cNvPr id="8" name="Date Placeholder 3"/>
          <p:cNvSpPr txBox="1">
            <a:spLocks/>
          </p:cNvSpPr>
          <p:nvPr/>
        </p:nvSpPr>
        <p:spPr>
          <a:xfrm>
            <a:off x="7391781" y="6703695"/>
            <a:ext cx="2514219" cy="144780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F.Khanbabaie</a:t>
            </a:r>
            <a:r>
              <a:rPr kumimoji="0" lang="en-US" sz="7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 – 1397/08</a:t>
            </a:r>
          </a:p>
        </p:txBody>
      </p:sp>
      <p:sp>
        <p:nvSpPr>
          <p:cNvPr id="12" name="Oval 11"/>
          <p:cNvSpPr/>
          <p:nvPr/>
        </p:nvSpPr>
        <p:spPr bwMode="auto">
          <a:xfrm>
            <a:off x="67668" y="6421164"/>
            <a:ext cx="360000" cy="360000"/>
          </a:xfrm>
          <a:prstGeom prst="ellipse">
            <a:avLst/>
          </a:prstGeom>
          <a:solidFill>
            <a:srgbClr val="6699FF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1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439738A2-4C05-4F29-9652-32670CBFDFB5}" type="slidenum">
              <a:rPr kumimoji="0" lang="en-US" sz="11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B Nazanin" pitchFamily="2" charset="-78"/>
              </a:rPr>
              <a:pPr marL="0" marR="0" indent="0" algn="ctr" defTabSz="914400" rtl="1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fa-IR" sz="1400" b="1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B Nazanin" pitchFamily="2" charset="-78"/>
            </a:endParaRPr>
          </a:p>
        </p:txBody>
      </p:sp>
      <p:sp>
        <p:nvSpPr>
          <p:cNvPr id="15" name="Oval 14"/>
          <p:cNvSpPr/>
          <p:nvPr/>
        </p:nvSpPr>
        <p:spPr bwMode="auto">
          <a:xfrm>
            <a:off x="120650" y="95250"/>
            <a:ext cx="828000" cy="828000"/>
          </a:xfrm>
          <a:prstGeom prst="ellipse">
            <a:avLst/>
          </a:prstGeom>
          <a:solidFill>
            <a:srgbClr val="33CCFF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2" name="Picture 21"/>
          <p:cNvPicPr>
            <a:picLocks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387" y="171007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213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</p:sldLayoutIdLst>
  <p:transition>
    <p:wipe dir="d"/>
  </p:transition>
  <p:hf sldNum="0" hdr="0"/>
  <p:txStyles>
    <p:titleStyle>
      <a:lvl1pPr algn="r" rtl="1" eaLnBrk="0" fontAlgn="base" hangingPunct="0">
        <a:spcBef>
          <a:spcPct val="0"/>
        </a:spcBef>
        <a:spcAft>
          <a:spcPct val="0"/>
        </a:spcAft>
        <a:defRPr sz="2400" b="1" baseline="0">
          <a:solidFill>
            <a:schemeClr val="bg1"/>
          </a:solidFill>
          <a:latin typeface="+mj-lt"/>
          <a:ea typeface="+mj-ea"/>
          <a:cs typeface="B Nazanin" pitchFamily="2" charset="-7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9pPr>
    </p:titleStyle>
    <p:bodyStyle>
      <a:lvl1pPr marL="225425" indent="-225425" algn="r" rtl="1" eaLnBrk="0" fontAlgn="base" hangingPunct="0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B Nazanin" pitchFamily="2" charset="-78"/>
        </a:defRPr>
      </a:lvl1pPr>
      <a:lvl2pPr marL="804863" indent="-285750" algn="r" rtl="1" eaLnBrk="0" fontAlgn="base" hangingPunct="0">
        <a:spcBef>
          <a:spcPct val="25000"/>
        </a:spcBef>
        <a:spcAft>
          <a:spcPct val="0"/>
        </a:spcAft>
        <a:buClr>
          <a:schemeClr val="tx1"/>
        </a:buClr>
        <a:buChar char="—"/>
        <a:defRPr sz="2000">
          <a:solidFill>
            <a:schemeClr val="tx1"/>
          </a:solidFill>
          <a:latin typeface="+mn-lt"/>
          <a:cs typeface="B Nazanin" pitchFamily="2" charset="-78"/>
        </a:defRPr>
      </a:lvl2pPr>
      <a:lvl3pPr marL="1147763" indent="-228600" algn="r" rtl="1" eaLnBrk="0" fontAlgn="base" hangingPunct="0">
        <a:spcBef>
          <a:spcPct val="25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  <a:cs typeface="B Nazanin" pitchFamily="2" charset="-78"/>
        </a:defRPr>
      </a:lvl3pPr>
      <a:lvl4pPr marL="1490663" indent="-228600" algn="r" rtl="1" eaLnBrk="0" fontAlgn="base" hangingPunct="0">
        <a:spcBef>
          <a:spcPct val="25000"/>
        </a:spcBef>
        <a:spcAft>
          <a:spcPct val="0"/>
        </a:spcAft>
        <a:buClr>
          <a:schemeClr val="tx1"/>
        </a:buClr>
        <a:buChar char="-"/>
        <a:defRPr sz="2000">
          <a:solidFill>
            <a:schemeClr val="tx1"/>
          </a:solidFill>
          <a:latin typeface="+mn-lt"/>
          <a:cs typeface="B Nazanin" pitchFamily="2" charset="-78"/>
        </a:defRPr>
      </a:lvl4pPr>
      <a:lvl5pPr marL="1833563" indent="-228600" algn="r" rtl="1" eaLnBrk="0" fontAlgn="base" hangingPunct="0">
        <a:spcBef>
          <a:spcPct val="25000"/>
        </a:spcBef>
        <a:spcAft>
          <a:spcPct val="0"/>
        </a:spcAft>
        <a:buClr>
          <a:srgbClr val="003399"/>
        </a:buClr>
        <a:defRPr sz="2000">
          <a:solidFill>
            <a:schemeClr val="tx1"/>
          </a:solidFill>
          <a:latin typeface="+mn-lt"/>
          <a:cs typeface="B Nazanin" pitchFamily="2" charset="-78"/>
        </a:defRPr>
      </a:lvl5pPr>
      <a:lvl6pPr marL="2290763" indent="-228600" algn="l" rtl="0" fontAlgn="base">
        <a:spcBef>
          <a:spcPct val="25000"/>
        </a:spcBef>
        <a:spcAft>
          <a:spcPct val="0"/>
        </a:spcAft>
        <a:buClr>
          <a:srgbClr val="003399"/>
        </a:buClr>
        <a:defRPr sz="1000">
          <a:solidFill>
            <a:schemeClr val="tx1"/>
          </a:solidFill>
          <a:latin typeface="+mn-lt"/>
        </a:defRPr>
      </a:lvl6pPr>
      <a:lvl7pPr marL="2747963" indent="-228600" algn="l" rtl="0" fontAlgn="base">
        <a:spcBef>
          <a:spcPct val="25000"/>
        </a:spcBef>
        <a:spcAft>
          <a:spcPct val="0"/>
        </a:spcAft>
        <a:buClr>
          <a:srgbClr val="003399"/>
        </a:buClr>
        <a:defRPr sz="1000">
          <a:solidFill>
            <a:schemeClr val="tx1"/>
          </a:solidFill>
          <a:latin typeface="+mn-lt"/>
        </a:defRPr>
      </a:lvl7pPr>
      <a:lvl8pPr marL="3205163" indent="-228600" algn="l" rtl="0" fontAlgn="base">
        <a:spcBef>
          <a:spcPct val="25000"/>
        </a:spcBef>
        <a:spcAft>
          <a:spcPct val="0"/>
        </a:spcAft>
        <a:buClr>
          <a:srgbClr val="003399"/>
        </a:buClr>
        <a:defRPr sz="1000">
          <a:solidFill>
            <a:schemeClr val="tx1"/>
          </a:solidFill>
          <a:latin typeface="+mn-lt"/>
        </a:defRPr>
      </a:lvl8pPr>
      <a:lvl9pPr marL="3662363" indent="-228600" algn="l" rtl="0" fontAlgn="base">
        <a:spcBef>
          <a:spcPct val="25000"/>
        </a:spcBef>
        <a:spcAft>
          <a:spcPct val="0"/>
        </a:spcAft>
        <a:buClr>
          <a:srgbClr val="003399"/>
        </a:buClr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6.wmf"/><Relationship Id="rId5" Type="http://schemas.openxmlformats.org/officeDocument/2006/relationships/package" Target="../embeddings/Microsoft_Excel_Worksheet7.xlsx"/><Relationship Id="rId4" Type="http://schemas.openxmlformats.org/officeDocument/2006/relationships/chart" Target="../charts/char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7.wmf"/><Relationship Id="rId5" Type="http://schemas.openxmlformats.org/officeDocument/2006/relationships/package" Target="../embeddings/Microsoft_Excel_Worksheet9.xlsx"/><Relationship Id="rId4" Type="http://schemas.openxmlformats.org/officeDocument/2006/relationships/chart" Target="../charts/char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8.wmf"/><Relationship Id="rId5" Type="http://schemas.openxmlformats.org/officeDocument/2006/relationships/package" Target="../embeddings/Microsoft_Excel_Worksheet11.xlsx"/><Relationship Id="rId4" Type="http://schemas.openxmlformats.org/officeDocument/2006/relationships/chart" Target="../charts/char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9.wmf"/><Relationship Id="rId5" Type="http://schemas.openxmlformats.org/officeDocument/2006/relationships/package" Target="../embeddings/Microsoft_Excel_Worksheet13.xlsx"/><Relationship Id="rId4" Type="http://schemas.openxmlformats.org/officeDocument/2006/relationships/chart" Target="../charts/chart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wmf"/><Relationship Id="rId5" Type="http://schemas.openxmlformats.org/officeDocument/2006/relationships/oleObject" Target="../embeddings/oleObject1.bin"/><Relationship Id="rId4" Type="http://schemas.openxmlformats.org/officeDocument/2006/relationships/chart" Target="../charts/chart1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1.wmf"/><Relationship Id="rId5" Type="http://schemas.openxmlformats.org/officeDocument/2006/relationships/oleObject" Target="../embeddings/oleObject2.bin"/><Relationship Id="rId4" Type="http://schemas.openxmlformats.org/officeDocument/2006/relationships/chart" Target="../charts/chart1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wmf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wmf"/><Relationship Id="rId5" Type="http://schemas.openxmlformats.org/officeDocument/2006/relationships/package" Target="../embeddings/Microsoft_Excel_Worksheet5.xlsx"/><Relationship Id="rId4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a-IR" dirty="0" smtClean="0"/>
              <a:t>گزارش پیشرفت اقدامات استراتژیک</a:t>
            </a:r>
            <a:endParaRPr lang="fa-IR" dirty="0"/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3657601" y="4639103"/>
            <a:ext cx="3677598" cy="535691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fa-IR" dirty="0" smtClean="0"/>
              <a:t>مدیریت تحقیق و توسعه</a:t>
            </a:r>
            <a:endParaRPr lang="fa-IR" dirty="0"/>
          </a:p>
        </p:txBody>
      </p:sp>
      <p:sp>
        <p:nvSpPr>
          <p:cNvPr id="4" name="Rectangle 20"/>
          <p:cNvSpPr txBox="1">
            <a:spLocks noChangeArrowheads="1"/>
          </p:cNvSpPr>
          <p:nvPr/>
        </p:nvSpPr>
        <p:spPr bwMode="auto">
          <a:xfrm>
            <a:off x="30363" y="4686728"/>
            <a:ext cx="3501118" cy="53569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</a:bodyPr>
          <a:lstStyle>
            <a:lvl1pPr marL="53975" indent="0" algn="r" rtl="0" eaLnBrk="0" fontAlgn="base" hangingPunc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itchFamily="28" charset="2"/>
              <a:buNone/>
              <a:defRPr kumimoji="0" lang="en-US" sz="2400" b="1" i="0" u="none" strike="noStrike" kern="0" cap="none" spc="0" normalizeH="0" baseline="0" noProof="0" dirty="0" smtClean="0">
                <a:ln w="9525">
                  <a:noFill/>
                  <a:prstDash val="solid"/>
                </a:ln>
                <a:solidFill>
                  <a:srgbClr val="51D4FF"/>
                </a:solidFill>
                <a:effectLst/>
                <a:uLnTx/>
                <a:uFillTx/>
                <a:latin typeface="+mj-lt"/>
                <a:ea typeface="+mj-ea"/>
                <a:cs typeface="B Nazanin" pitchFamily="2" charset="-78"/>
              </a:defRPr>
            </a:lvl1pPr>
            <a:lvl2pPr marL="804863" indent="-285750" algn="r" rtl="1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—"/>
              <a:defRPr sz="2000">
                <a:solidFill>
                  <a:schemeClr val="tx1"/>
                </a:solidFill>
                <a:latin typeface="+mn-lt"/>
                <a:cs typeface="B Nazanin" pitchFamily="2" charset="-78"/>
              </a:defRPr>
            </a:lvl2pPr>
            <a:lvl3pPr marL="1147763" indent="-228600" algn="r" rtl="1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B Nazanin" pitchFamily="2" charset="-78"/>
              </a:defRPr>
            </a:lvl3pPr>
            <a:lvl4pPr marL="1490663" indent="-228600" algn="r" rtl="1" eaLnBrk="0" fontAlgn="base" hangingPunct="0">
              <a:spcBef>
                <a:spcPct val="25000"/>
              </a:spcBef>
              <a:spcAft>
                <a:spcPct val="0"/>
              </a:spcAft>
              <a:buClr>
                <a:schemeClr val="tx1"/>
              </a:buClr>
              <a:buChar char="-"/>
              <a:defRPr sz="2000">
                <a:solidFill>
                  <a:schemeClr val="tx1"/>
                </a:solidFill>
                <a:latin typeface="+mn-lt"/>
                <a:cs typeface="B Nazanin" pitchFamily="2" charset="-78"/>
              </a:defRPr>
            </a:lvl4pPr>
            <a:lvl5pPr marL="1833563" indent="-228600" algn="r" rtl="1" eaLnBrk="0" fontAlgn="base" hangingPunct="0">
              <a:spcBef>
                <a:spcPct val="25000"/>
              </a:spcBef>
              <a:spcAft>
                <a:spcPct val="0"/>
              </a:spcAft>
              <a:buClr>
                <a:srgbClr val="003399"/>
              </a:buClr>
              <a:defRPr sz="2000">
                <a:solidFill>
                  <a:schemeClr val="tx1"/>
                </a:solidFill>
                <a:latin typeface="+mn-lt"/>
                <a:cs typeface="B Nazanin" pitchFamily="2" charset="-78"/>
              </a:defRPr>
            </a:lvl5pPr>
            <a:lvl6pPr marL="2290763" indent="-228600" algn="l" rtl="0" fontAlgn="base">
              <a:spcBef>
                <a:spcPct val="25000"/>
              </a:spcBef>
              <a:spcAft>
                <a:spcPct val="0"/>
              </a:spcAft>
              <a:buClr>
                <a:srgbClr val="003399"/>
              </a:buClr>
              <a:defRPr sz="1000">
                <a:solidFill>
                  <a:schemeClr val="tx1"/>
                </a:solidFill>
                <a:latin typeface="+mn-lt"/>
              </a:defRPr>
            </a:lvl6pPr>
            <a:lvl7pPr marL="2747963" indent="-228600" algn="l" rtl="0" fontAlgn="base">
              <a:spcBef>
                <a:spcPct val="25000"/>
              </a:spcBef>
              <a:spcAft>
                <a:spcPct val="0"/>
              </a:spcAft>
              <a:buClr>
                <a:srgbClr val="003399"/>
              </a:buClr>
              <a:defRPr sz="1000">
                <a:solidFill>
                  <a:schemeClr val="tx1"/>
                </a:solidFill>
                <a:latin typeface="+mn-lt"/>
              </a:defRPr>
            </a:lvl7pPr>
            <a:lvl8pPr marL="3205163" indent="-228600" algn="l" rtl="0" fontAlgn="base">
              <a:spcBef>
                <a:spcPct val="25000"/>
              </a:spcBef>
              <a:spcAft>
                <a:spcPct val="0"/>
              </a:spcAft>
              <a:buClr>
                <a:srgbClr val="003399"/>
              </a:buClr>
              <a:defRPr sz="1000">
                <a:solidFill>
                  <a:schemeClr val="tx1"/>
                </a:solidFill>
                <a:latin typeface="+mn-lt"/>
              </a:defRPr>
            </a:lvl8pPr>
            <a:lvl9pPr marL="3662363" indent="-228600" algn="l" rtl="0" fontAlgn="base">
              <a:spcBef>
                <a:spcPct val="25000"/>
              </a:spcBef>
              <a:spcAft>
                <a:spcPct val="0"/>
              </a:spcAft>
              <a:buClr>
                <a:srgbClr val="003399"/>
              </a:buClr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rtl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defRPr/>
            </a:pPr>
            <a:r>
              <a:rPr lang="fa-IR" dirty="0" smtClean="0"/>
              <a:t>گزارش منتهی به </a:t>
            </a:r>
            <a:r>
              <a:rPr lang="fa-IR" dirty="0"/>
              <a:t>آذر </a:t>
            </a:r>
            <a:r>
              <a:rPr lang="fa-IR" dirty="0" smtClean="0"/>
              <a:t>ماه 1397</a:t>
            </a:r>
            <a:endParaRPr lang="fa-IR" dirty="0"/>
          </a:p>
        </p:txBody>
      </p:sp>
    </p:spTree>
    <p:extLst>
      <p:ext uri="{BB962C8B-B14F-4D97-AF65-F5344CB8AC3E}">
        <p14:creationId xmlns:p14="http://schemas.microsoft.com/office/powerpoint/2010/main" val="1844897006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le 14"/>
          <p:cNvGraphicFramePr>
            <a:graphicFrameLocks noGrp="1"/>
          </p:cNvGraphicFramePr>
          <p:nvPr>
            <p:extLst/>
          </p:nvPr>
        </p:nvGraphicFramePr>
        <p:xfrm>
          <a:off x="614366" y="4129641"/>
          <a:ext cx="4265170" cy="2293200"/>
        </p:xfrm>
        <a:graphic>
          <a:graphicData uri="http://schemas.openxmlformats.org/drawingml/2006/table">
            <a:tbl>
              <a:tblPr rtl="1"/>
              <a:tblGrid>
                <a:gridCol w="42651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4400">
                <a:tc>
                  <a:txBody>
                    <a:bodyPr/>
                    <a:lstStyle/>
                    <a:p>
                      <a:pPr algn="ctr" rtl="1" fontAlgn="ctr">
                        <a:lnSpc>
                          <a:spcPct val="110000"/>
                        </a:lnSpc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روند پیشرفت </a:t>
                      </a:r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جمیعی</a:t>
                      </a:r>
                      <a:r>
                        <a:rPr lang="fa-IR" sz="14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قدام استراتژیک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18800">
                <a:tc>
                  <a:txBody>
                    <a:bodyPr/>
                    <a:lstStyle/>
                    <a:p>
                      <a:pPr marL="57150" indent="0" algn="r" rtl="1" fontAlgn="ctr">
                        <a:lnSpc>
                          <a:spcPct val="110000"/>
                        </a:lnSpc>
                        <a:buFont typeface="Arial" pitchFamily="34" charset="0"/>
                        <a:buNone/>
                      </a:pPr>
                      <a:endParaRPr lang="fa-IR" sz="2200" b="1" i="0" u="none" strike="noStrike" dirty="0" smtClean="0">
                        <a:solidFill>
                          <a:schemeClr val="tx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2835801"/>
              </p:ext>
            </p:extLst>
          </p:nvPr>
        </p:nvGraphicFramePr>
        <p:xfrm>
          <a:off x="4954137" y="1523999"/>
          <a:ext cx="4263102" cy="2540322"/>
        </p:xfrm>
        <a:graphic>
          <a:graphicData uri="http://schemas.openxmlformats.org/drawingml/2006/table">
            <a:tbl>
              <a:tblPr rtl="1"/>
              <a:tblGrid>
                <a:gridCol w="21340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90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136322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نام اقدام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>
                        <a:lnSpc>
                          <a:spcPct val="100000"/>
                        </a:lnSpc>
                      </a:pPr>
                      <a:r>
                        <a:rPr lang="fa-IR" sz="1500" b="0" i="0" u="none" strike="noStrike" kern="1200" dirty="0" smtClean="0">
                          <a:solidFill>
                            <a:schemeClr val="tx1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بازنگری نقشه راه تحقیق و توسعه در راستای استراتژی های جدید</a:t>
                      </a:r>
                      <a:endParaRPr lang="en-US" sz="1500" b="0" i="0" u="none" strike="noStrike" kern="1200" dirty="0">
                        <a:solidFill>
                          <a:schemeClr val="tx1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کد اقدام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3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B Nazanin" pitchFamily="2" charset="-78"/>
                        </a:rPr>
                        <a:t>SP97-06-01</a:t>
                      </a:r>
                      <a:endParaRPr lang="en-US" sz="13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هدف استراتژیک مرتبط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r>
                        <a:rPr lang="fa-IR" sz="13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B Nazanin" pitchFamily="2" charset="-78"/>
                        </a:rPr>
                        <a:t>نوآوری در تولید و ارائه خدمات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9219975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برنامه جامع استراتژیک مرتبط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a-IR" sz="15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B Nazanin"/>
                          <a:ea typeface="+mn-ea"/>
                          <a:cs typeface="B Nazanin" pitchFamily="2" charset="-78"/>
                        </a:rPr>
                        <a:t>نوآوری و بهبود در زنجیره عرضه</a:t>
                      </a:r>
                      <a:endParaRPr kumimoji="0" lang="en-US" sz="15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67128"/>
                  </a:ext>
                </a:extLst>
              </a:tr>
            </a:tbl>
          </a:graphicData>
        </a:graphic>
      </p:graphicFrame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5606060"/>
              </p:ext>
            </p:extLst>
          </p:nvPr>
        </p:nvGraphicFramePr>
        <p:xfrm>
          <a:off x="614366" y="1521396"/>
          <a:ext cx="4259961" cy="2544995"/>
        </p:xfrm>
        <a:graphic>
          <a:graphicData uri="http://schemas.openxmlformats.org/drawingml/2006/table">
            <a:tbl>
              <a:tblPr rtl="1"/>
              <a:tblGrid>
                <a:gridCol w="21309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90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4295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واحد متولی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مدیریت تحقیق و توسعه</a:t>
                      </a:r>
                      <a:endParaRPr lang="en-US" sz="15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295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نام متولی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0" i="0" u="none" strike="noStrike" kern="1200" dirty="0" err="1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الیاس</a:t>
                      </a:r>
                      <a:r>
                        <a:rPr lang="fa-IR" sz="15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 نیرومند</a:t>
                      </a:r>
                      <a:endParaRPr lang="en-US" sz="15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295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نام مجری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سارا فروتن</a:t>
                      </a:r>
                      <a:endParaRPr lang="en-US" sz="15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7426199"/>
                  </a:ext>
                </a:extLst>
              </a:tr>
              <a:tr h="573520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یم همکار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سعید بهنام – محسن حیدریان</a:t>
                      </a:r>
                      <a:endParaRPr lang="en-US" sz="15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909109"/>
                  </a:ext>
                </a:extLst>
              </a:tr>
              <a:tr h="39429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اريخ</a:t>
                      </a: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شروع (برنامه ای)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1500" b="0" i="0" u="none" strike="noStrike" dirty="0" smtClean="0">
                          <a:solidFill>
                            <a:schemeClr val="tx1"/>
                          </a:solidFill>
                          <a:latin typeface="B Nazanin"/>
                          <a:cs typeface="B Nazanin" pitchFamily="2" charset="-78"/>
                        </a:rPr>
                        <a:t>97/09/01</a:t>
                      </a:r>
                      <a:endParaRPr lang="en-US" sz="1500" b="0" i="0" u="none" strike="noStrike" dirty="0">
                        <a:solidFill>
                          <a:schemeClr val="tx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29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اريخ</a:t>
                      </a: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پایان (برنامه ای)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1500" b="0" i="0" u="none" strike="noStrike" dirty="0" smtClean="0">
                          <a:solidFill>
                            <a:schemeClr val="tx1"/>
                          </a:solidFill>
                          <a:latin typeface="B Nazanin"/>
                          <a:cs typeface="B Nazanin" pitchFamily="2" charset="-78"/>
                        </a:rPr>
                        <a:t>98/03/01</a:t>
                      </a:r>
                      <a:endParaRPr lang="en-US" sz="1500" b="0" i="0" u="none" strike="noStrike" dirty="0">
                        <a:solidFill>
                          <a:schemeClr val="tx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 smtClean="0"/>
              <a:t>وضعیت اجرای اقدام استراتژیک</a:t>
            </a:r>
            <a:endParaRPr lang="fa-IR" dirty="0"/>
          </a:p>
        </p:txBody>
      </p:sp>
      <p:sp>
        <p:nvSpPr>
          <p:cNvPr id="23" name="Rounded Rectangle 22"/>
          <p:cNvSpPr/>
          <p:nvPr/>
        </p:nvSpPr>
        <p:spPr bwMode="auto">
          <a:xfrm>
            <a:off x="4114800" y="910774"/>
            <a:ext cx="5359400" cy="432000"/>
          </a:xfrm>
          <a:prstGeom prst="roundRect">
            <a:avLst>
              <a:gd name="adj" fmla="val 50000"/>
            </a:avLst>
          </a:prstGeom>
          <a:solidFill>
            <a:srgbClr val="C8666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endParaRPr lang="fa-IR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4" name="Title 15"/>
          <p:cNvSpPr txBox="1">
            <a:spLocks/>
          </p:cNvSpPr>
          <p:nvPr/>
        </p:nvSpPr>
        <p:spPr bwMode="auto">
          <a:xfrm>
            <a:off x="4167266" y="909863"/>
            <a:ext cx="4587802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rtl="1">
              <a:spcBef>
                <a:spcPct val="0"/>
              </a:spcBef>
              <a:defRPr/>
            </a:pPr>
            <a:r>
              <a:rPr lang="fa-IR" sz="2000" b="1" smtClean="0">
                <a:solidFill>
                  <a:srgbClr val="FFFFFF"/>
                </a:solidFill>
                <a:latin typeface="B Nazanin"/>
                <a:cs typeface="B Nazanin" pitchFamily="2" charset="-78"/>
              </a:rPr>
              <a:t>نماي كلي</a:t>
            </a:r>
            <a:endParaRPr lang="fa-IR" sz="2000" b="1" kern="0" spc="-30" smtClean="0">
              <a:solidFill>
                <a:srgbClr val="FFFFFF"/>
              </a:solidFill>
              <a:latin typeface="Arial"/>
              <a:cs typeface="B Nazanin" pitchFamily="2" charset="-78"/>
            </a:endParaRPr>
          </a:p>
        </p:txBody>
      </p:sp>
      <p:pic>
        <p:nvPicPr>
          <p:cNvPr id="26" name="Picture 25" descr="Magnifyer 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819446" y="792681"/>
            <a:ext cx="666000" cy="666000"/>
          </a:xfrm>
          <a:prstGeom prst="rect">
            <a:avLst/>
          </a:prstGeom>
        </p:spPr>
      </p:pic>
      <p:graphicFrame>
        <p:nvGraphicFramePr>
          <p:cNvPr id="43" name="Chart 42"/>
          <p:cNvGraphicFramePr/>
          <p:nvPr>
            <p:extLst>
              <p:ext uri="{D42A27DB-BD31-4B8C-83A1-F6EECF244321}">
                <p14:modId xmlns:p14="http://schemas.microsoft.com/office/powerpoint/2010/main" val="4063595341"/>
              </p:ext>
            </p:extLst>
          </p:nvPr>
        </p:nvGraphicFramePr>
        <p:xfrm>
          <a:off x="631486" y="4533900"/>
          <a:ext cx="4197689" cy="18642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8021033"/>
              </p:ext>
            </p:extLst>
          </p:nvPr>
        </p:nvGraphicFramePr>
        <p:xfrm>
          <a:off x="4954137" y="4129640"/>
          <a:ext cx="4262566" cy="2293200"/>
        </p:xfrm>
        <a:graphic>
          <a:graphicData uri="http://schemas.openxmlformats.org/drawingml/2006/table">
            <a:tbl>
              <a:tblPr rtl="1"/>
              <a:tblGrid>
                <a:gridCol w="14208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20856">
                  <a:extLst>
                    <a:ext uri="{9D8B030D-6E8A-4147-A177-3AD203B41FA5}">
                      <a16:colId xmlns:a16="http://schemas.microsoft.com/office/drawing/2014/main" val="72834989"/>
                    </a:ext>
                  </a:extLst>
                </a:gridCol>
                <a:gridCol w="1420855">
                  <a:extLst>
                    <a:ext uri="{9D8B030D-6E8A-4147-A177-3AD203B41FA5}">
                      <a16:colId xmlns:a16="http://schemas.microsoft.com/office/drawing/2014/main" val="639004351"/>
                    </a:ext>
                  </a:extLst>
                </a:gridCol>
              </a:tblGrid>
              <a:tr h="450352">
                <a:tc gridSpan="3"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وضعیت پیشرفت</a:t>
                      </a:r>
                      <a:r>
                        <a:rPr lang="fa-IR" sz="14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قدام استراتژیک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0179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100% الی 95%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95% الی 85%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66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85% الی 0%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4223">
                <a:tc gridSpan="2"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درصد پیشرفت </a:t>
                      </a:r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جمیعی</a:t>
                      </a: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برنامه</a:t>
                      </a:r>
                      <a:r>
                        <a:rPr lang="fa-IR" sz="14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ی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r>
                        <a:rPr lang="fa-IR" sz="1600" b="1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35%</a:t>
                      </a:r>
                      <a:endParaRPr lang="en-US" sz="1600" b="1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4223">
                <a:tc gridSpan="2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درصد پیشرفت </a:t>
                      </a:r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جمیعی</a:t>
                      </a: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واقعی</a:t>
                      </a: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r>
                        <a:rPr lang="fa-IR" sz="1600" b="1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35%</a:t>
                      </a:r>
                      <a:endParaRPr lang="en-US" sz="1600" b="1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2422588"/>
                  </a:ext>
                </a:extLst>
              </a:tr>
              <a:tr h="474223">
                <a:tc gridSpan="2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درصد</a:t>
                      </a:r>
                      <a:r>
                        <a:rPr lang="fa-IR" sz="14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تحقق برنامه</a:t>
                      </a:r>
                    </a:p>
                    <a:p>
                      <a:pPr marL="0" marR="0" lvl="0" indent="0" algn="ctr" defTabSz="914400" rtl="1" eaLnBrk="1" fontAlgn="ctr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100" b="1" i="0" u="none" strike="noStrike" spc="0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(پیشرفت واقعی تقسیم بر پیشرفت برنامه ای)</a:t>
                      </a: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r>
                        <a:rPr lang="fa-IR" sz="1600" b="1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100%</a:t>
                      </a:r>
                      <a:endParaRPr lang="en-US" sz="1600" b="1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0925430"/>
                  </a:ext>
                </a:extLst>
              </a:tr>
            </a:tbl>
          </a:graphicData>
        </a:graphic>
      </p:graphicFrame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05017633"/>
              </p:ext>
            </p:extLst>
          </p:nvPr>
        </p:nvGraphicFramePr>
        <p:xfrm>
          <a:off x="485769" y="909863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6" name="Worksheet" showAsIcon="1" r:id="rId5" imgW="914400" imgH="771480" progId="Excel.Sheet.12">
                  <p:embed/>
                </p:oleObj>
              </mc:Choice>
              <mc:Fallback>
                <p:oleObj name="Worksheet" showAsIcon="1" r:id="rId5" imgW="914400" imgH="771480" progId="Excel.Sheet.12">
                  <p:embed/>
                  <p:pic>
                    <p:nvPicPr>
                      <p:cNvPr id="0" name="Picture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85769" y="909863"/>
                        <a:ext cx="914400" cy="7715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43061790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ounded Rectangle 18"/>
          <p:cNvSpPr/>
          <p:nvPr/>
        </p:nvSpPr>
        <p:spPr bwMode="auto">
          <a:xfrm>
            <a:off x="4114800" y="910774"/>
            <a:ext cx="5172075" cy="432000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Title 15"/>
          <p:cNvSpPr txBox="1">
            <a:spLocks/>
          </p:cNvSpPr>
          <p:nvPr/>
        </p:nvSpPr>
        <p:spPr bwMode="auto">
          <a:xfrm>
            <a:off x="4167266" y="909863"/>
            <a:ext cx="4587802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r" rtl="1">
              <a:spcBef>
                <a:spcPct val="0"/>
              </a:spcBef>
              <a:defRPr/>
            </a:pPr>
            <a:r>
              <a:rPr lang="fa-IR" sz="2000" b="1" kern="0" spc="-30" smtClean="0">
                <a:solidFill>
                  <a:schemeClr val="bg1"/>
                </a:solidFill>
                <a:latin typeface="+mj-lt"/>
                <a:ea typeface="+mj-ea"/>
                <a:cs typeface="B Nazanin" pitchFamily="2" charset="-78"/>
              </a:rPr>
              <a:t>نماي تفصيلي</a:t>
            </a:r>
          </a:p>
        </p:txBody>
      </p:sp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/>
              <a:t>وضعیت اجرای اقدام استراتژیک</a:t>
            </a:r>
          </a:p>
        </p:txBody>
      </p:sp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2474526"/>
              </p:ext>
            </p:extLst>
          </p:nvPr>
        </p:nvGraphicFramePr>
        <p:xfrm>
          <a:off x="230692" y="1626889"/>
          <a:ext cx="9438288" cy="4339617"/>
        </p:xfrm>
        <a:graphic>
          <a:graphicData uri="http://schemas.openxmlformats.org/drawingml/2006/table">
            <a:tbl>
              <a:tblPr rtl="1"/>
              <a:tblGrid>
                <a:gridCol w="4763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0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35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1761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53127">
                  <a:extLst>
                    <a:ext uri="{9D8B030D-6E8A-4147-A177-3AD203B41FA5}">
                      <a16:colId xmlns:a16="http://schemas.microsoft.com/office/drawing/2014/main" val="2813668953"/>
                    </a:ext>
                  </a:extLst>
                </a:gridCol>
                <a:gridCol w="2694281">
                  <a:extLst>
                    <a:ext uri="{9D8B030D-6E8A-4147-A177-3AD203B41FA5}">
                      <a16:colId xmlns:a16="http://schemas.microsoft.com/office/drawing/2014/main" val="1795941034"/>
                    </a:ext>
                  </a:extLst>
                </a:gridCol>
                <a:gridCol w="678662">
                  <a:extLst>
                    <a:ext uri="{9D8B030D-6E8A-4147-A177-3AD203B41FA5}">
                      <a16:colId xmlns:a16="http://schemas.microsoft.com/office/drawing/2014/main" val="250335139"/>
                    </a:ext>
                  </a:extLst>
                </a:gridCol>
                <a:gridCol w="67866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498884">
                <a:tc rowSpan="2"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رديف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70C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1" fontAlgn="ctr"/>
                      <a:r>
                        <a:rPr lang="fa-IR" sz="15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طرح اجرایی اقدام استراتژیک</a:t>
                      </a:r>
                      <a:endParaRPr lang="fa-IR" sz="15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1" fontAlgn="ctr"/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3E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1" fontAlgn="ctr"/>
                      <a:endParaRPr lang="fa-IR" sz="15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1"/>
                      <a:r>
                        <a:rPr lang="fa-IR" sz="15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ea typeface="+mn-ea"/>
                          <a:cs typeface="B Nazanin" pitchFamily="2" charset="-78"/>
                        </a:rPr>
                        <a:t>وضعیت اجرای اقدام استراتژیک</a:t>
                      </a:r>
                      <a:endParaRPr lang="fa-IR" sz="1500" b="1" i="0" u="none" strike="noStrike" kern="1200" dirty="0">
                        <a:solidFill>
                          <a:srgbClr val="FFFFFF"/>
                        </a:solidFill>
                        <a:effectLst/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884">
                <a:tc v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فعالیت های اصلی اقدام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درصد وزن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خروجی قابل تحویل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زمان تحویل</a:t>
                      </a:r>
                    </a:p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(برنامه ای)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خروجی تحویل شده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زمان تحویل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درصد تحقق فعالیت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097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effectLst/>
                          <a:latin typeface="B Nazanin"/>
                          <a:cs typeface="B Nazanin" pitchFamily="2" charset="-78"/>
                        </a:rPr>
                        <a:t>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ارزیابی نقشه راه موجود با استراتژی های جدید شرکت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10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موضوعات کلیدی مورد توجه در استراتژی های جدید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10/0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نیازهای تحقیقاتی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10/01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10%</a:t>
                      </a:r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097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effectLst/>
                          <a:latin typeface="B Nazanin"/>
                          <a:cs typeface="B Nazanin" pitchFamily="2" charset="-78"/>
                        </a:rPr>
                        <a:t>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شناسایی نقاط قابل اصلاح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15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عناوین راه کارهای قابل اجرا مرتبط با تحقیق و توسعه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11/0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الویتهای</a:t>
                      </a:r>
                      <a:r>
                        <a:rPr lang="fa-IR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 پژوهشی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10/15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15%</a:t>
                      </a:r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097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effectLst/>
                          <a:latin typeface="B Nazanin"/>
                          <a:cs typeface="B Nazanin" pitchFamily="2" charset="-78"/>
                        </a:rPr>
                        <a:t>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تهیه نسخه اولیه و پیشنهادی نقشه راه تحقیق و توسعه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30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 نسخه اولیه نقشه راه تحقیق و توسعه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8/01/0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نسخه اولیه نقشه راه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98/01/01</a:t>
                      </a:r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20%</a:t>
                      </a:r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097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4</a:t>
                      </a:r>
                      <a:endParaRPr lang="fa-IR" sz="1300" b="1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اخذ نظرات و بازخورد از ذینفعان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20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 fontAlgn="ctr"/>
                      <a:r>
                        <a:rPr lang="fa-I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بازخورد ذینفعان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8/02/0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7581457"/>
                  </a:ext>
                </a:extLst>
              </a:tr>
              <a:tr h="474248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5</a:t>
                      </a:r>
                      <a:endParaRPr lang="fa-IR" sz="1300" b="1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نهایی سازی نقشه راه تحقیق و توسعه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15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 fontAlgn="ctr"/>
                      <a:r>
                        <a:rPr lang="fa-I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 نسخه نهایی نقشه راه تحقیق و توسعه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8/02/1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0619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6</a:t>
                      </a:r>
                      <a:endParaRPr lang="fa-IR" sz="1300" b="1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تصویب نقشه راه تحقیق و توسعه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10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 fontAlgn="ctr"/>
                      <a:r>
                        <a:rPr lang="fa-I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 نسخه مصوب نقشه راه تحقیق و توسعه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8/03/0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/>
                      <a:endParaRPr lang="fa-IR" sz="1500" dirty="0"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/>
                      <a:endParaRPr lang="fa-IR" sz="1500" dirty="0"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0975">
                <a:tc gridSpan="2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مجموع</a:t>
                      </a: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3E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100%</a:t>
                      </a: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500" b="0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500" b="0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1" fontAlgn="ctr"/>
                      <a:r>
                        <a:rPr lang="fa-IR" sz="15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مجموع</a:t>
                      </a: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rtl="1" fontAlgn="ctr"/>
                      <a:endParaRPr lang="fa-IR" sz="1500" b="0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0%</a:t>
                      </a: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256993"/>
                  </a:ext>
                </a:extLst>
              </a:tr>
            </a:tbl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0041" y="792681"/>
            <a:ext cx="664809" cy="66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509259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09" name="Picture 1" descr="C:\Documents and Settings\Khanbabaie_F\Desktop\16915464-breaking-trend-with-five-why-methodology-modern-six-sigma-concept copy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8512" y="471180"/>
            <a:ext cx="2237447" cy="118653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819624" y="1692165"/>
          <a:ext cx="8654576" cy="4708635"/>
        </p:xfrm>
        <a:graphic>
          <a:graphicData uri="http://schemas.openxmlformats.org/drawingml/2006/table">
            <a:tbl>
              <a:tblPr rtl="1"/>
              <a:tblGrid>
                <a:gridCol w="86545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205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6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حلیل ریشه ای انحراف اجرای اقدام</a:t>
                      </a:r>
                      <a:r>
                        <a:rPr lang="fa-IR" sz="16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ز برنامه</a:t>
                      </a:r>
                      <a:endParaRPr lang="fa-IR" sz="16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1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2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3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4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5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405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6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چالش های اصلی اجرای اقدام</a:t>
                      </a:r>
                      <a:r>
                        <a:rPr lang="fa-IR" sz="16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ستراتژیک</a:t>
                      </a:r>
                      <a:endParaRPr lang="fa-IR" sz="16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435803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1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4544636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2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1111933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3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4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5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/>
              <a:t>وضعیت اجرای اقدام استراتژیک</a:t>
            </a:r>
          </a:p>
        </p:txBody>
      </p:sp>
      <p:sp>
        <p:nvSpPr>
          <p:cNvPr id="10" name="Rounded Rectangle 9"/>
          <p:cNvSpPr/>
          <p:nvPr/>
        </p:nvSpPr>
        <p:spPr bwMode="auto">
          <a:xfrm>
            <a:off x="4114800" y="910774"/>
            <a:ext cx="5359400" cy="432000"/>
          </a:xfrm>
          <a:prstGeom prst="roundRect">
            <a:avLst>
              <a:gd name="adj" fmla="val 50000"/>
            </a:avLst>
          </a:prstGeom>
          <a:solidFill>
            <a:srgbClr val="33CCFF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Title 15"/>
          <p:cNvSpPr txBox="1">
            <a:spLocks/>
          </p:cNvSpPr>
          <p:nvPr/>
        </p:nvSpPr>
        <p:spPr bwMode="auto">
          <a:xfrm>
            <a:off x="4167266" y="909863"/>
            <a:ext cx="4587802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r" rtl="1">
              <a:spcBef>
                <a:spcPct val="0"/>
              </a:spcBef>
              <a:defRPr/>
            </a:pPr>
            <a:r>
              <a:rPr lang="fa-IR" sz="2000" b="1" kern="0" spc="-30" dirty="0" smtClean="0">
                <a:solidFill>
                  <a:schemeClr val="bg1"/>
                </a:solidFill>
                <a:latin typeface="+mj-lt"/>
                <a:ea typeface="+mj-ea"/>
                <a:cs typeface="B Nazanin" pitchFamily="2" charset="-78"/>
              </a:rPr>
              <a:t>تحلیل روند اجرای اقدام استراتژیک</a:t>
            </a:r>
          </a:p>
        </p:txBody>
      </p:sp>
      <p:pic>
        <p:nvPicPr>
          <p:cNvPr id="14" name="Picture 13" descr="Trend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820148" y="793748"/>
            <a:ext cx="666000" cy="66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614885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47649" y="1455678"/>
            <a:ext cx="9401175" cy="794038"/>
          </a:xfrm>
        </p:spPr>
        <p:txBody>
          <a:bodyPr/>
          <a:lstStyle/>
          <a:p>
            <a:r>
              <a:rPr lang="fa-IR" dirty="0"/>
              <a:t>انجام مطالعات و تحقیقات در نوآوری جهت بسته بندی و حمل محصول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930550" y="2718563"/>
            <a:ext cx="3653350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fa-IR" sz="2000" b="1" dirty="0" smtClean="0">
                <a:solidFill>
                  <a:schemeClr val="accent5">
                    <a:lumMod val="25000"/>
                  </a:schemeClr>
                </a:solidFill>
                <a:cs typeface="B Nazanin" panose="00000400000000000000" pitchFamily="2" charset="-78"/>
              </a:rPr>
              <a:t>منتهی به </a:t>
            </a:r>
            <a:r>
              <a:rPr lang="fa-IR" sz="2000" b="1" dirty="0">
                <a:solidFill>
                  <a:schemeClr val="accent5">
                    <a:lumMod val="25000"/>
                  </a:schemeClr>
                </a:solidFill>
                <a:cs typeface="B Nazanin" panose="00000400000000000000" pitchFamily="2" charset="-78"/>
              </a:rPr>
              <a:t>آذر </a:t>
            </a:r>
            <a:r>
              <a:rPr lang="fa-IR" sz="2000" b="1" dirty="0" smtClean="0">
                <a:solidFill>
                  <a:schemeClr val="accent5">
                    <a:lumMod val="25000"/>
                  </a:schemeClr>
                </a:solidFill>
                <a:cs typeface="B Nazanin" panose="00000400000000000000" pitchFamily="2" charset="-78"/>
              </a:rPr>
              <a:t>ماه سال 1397</a:t>
            </a:r>
            <a:endParaRPr lang="fa-IR" sz="2000" b="1" dirty="0">
              <a:solidFill>
                <a:schemeClr val="accent5">
                  <a:lumMod val="25000"/>
                </a:schemeClr>
              </a:solidFill>
              <a:cs typeface="B Nazanin" panose="00000400000000000000" pitchFamily="2" charset="-78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747825" y="5461763"/>
            <a:ext cx="2510350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2800" spc="-40" dirty="0" smtClean="0">
                <a:solidFill>
                  <a:srgbClr val="338E89"/>
                </a:solidFill>
                <a:cs typeface="B Nazanin" panose="00000400000000000000" pitchFamily="2" charset="-78"/>
              </a:rPr>
              <a:t>SP97-06-03</a:t>
            </a:r>
            <a:endParaRPr lang="en-US" sz="2800" spc="-40" dirty="0">
              <a:solidFill>
                <a:srgbClr val="338E89"/>
              </a:solidFill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325553431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le 14"/>
          <p:cNvGraphicFramePr>
            <a:graphicFrameLocks noGrp="1"/>
          </p:cNvGraphicFramePr>
          <p:nvPr>
            <p:extLst/>
          </p:nvPr>
        </p:nvGraphicFramePr>
        <p:xfrm>
          <a:off x="614366" y="4129641"/>
          <a:ext cx="4265170" cy="2293200"/>
        </p:xfrm>
        <a:graphic>
          <a:graphicData uri="http://schemas.openxmlformats.org/drawingml/2006/table">
            <a:tbl>
              <a:tblPr rtl="1"/>
              <a:tblGrid>
                <a:gridCol w="42651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4400">
                <a:tc>
                  <a:txBody>
                    <a:bodyPr/>
                    <a:lstStyle/>
                    <a:p>
                      <a:pPr algn="ctr" rtl="1" fontAlgn="ctr">
                        <a:lnSpc>
                          <a:spcPct val="110000"/>
                        </a:lnSpc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روند پیشرفت </a:t>
                      </a:r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جمیعی</a:t>
                      </a:r>
                      <a:r>
                        <a:rPr lang="fa-IR" sz="14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قدام استراتژیک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18800">
                <a:tc>
                  <a:txBody>
                    <a:bodyPr/>
                    <a:lstStyle/>
                    <a:p>
                      <a:pPr marL="57150" indent="0" algn="r" rtl="1" fontAlgn="ctr">
                        <a:lnSpc>
                          <a:spcPct val="110000"/>
                        </a:lnSpc>
                        <a:buFont typeface="Arial" pitchFamily="34" charset="0"/>
                        <a:buNone/>
                      </a:pPr>
                      <a:endParaRPr lang="fa-IR" sz="2200" b="1" i="0" u="none" strike="noStrike" dirty="0" smtClean="0">
                        <a:solidFill>
                          <a:schemeClr val="tx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3797194"/>
              </p:ext>
            </p:extLst>
          </p:nvPr>
        </p:nvGraphicFramePr>
        <p:xfrm>
          <a:off x="4954137" y="1523999"/>
          <a:ext cx="4263102" cy="2540322"/>
        </p:xfrm>
        <a:graphic>
          <a:graphicData uri="http://schemas.openxmlformats.org/drawingml/2006/table">
            <a:tbl>
              <a:tblPr rtl="1"/>
              <a:tblGrid>
                <a:gridCol w="21340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90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136322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نام اقدام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>
                        <a:lnSpc>
                          <a:spcPct val="100000"/>
                        </a:lnSpc>
                      </a:pPr>
                      <a:r>
                        <a:rPr lang="fa-IR" sz="1500" b="0" i="0" u="none" strike="noStrike" kern="1200" dirty="0" smtClean="0">
                          <a:solidFill>
                            <a:schemeClr val="tx1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انجام مطالعات و تحقیقات در نوآوری جهت بسته بندی و حمل محصول</a:t>
                      </a:r>
                      <a:endParaRPr lang="en-US" sz="1500" b="0" i="0" u="none" strike="noStrike" kern="1200" dirty="0">
                        <a:solidFill>
                          <a:schemeClr val="tx1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کد اقدام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3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B Nazanin" pitchFamily="2" charset="-78"/>
                        </a:rPr>
                        <a:t>SP97-06-03</a:t>
                      </a:r>
                      <a:endParaRPr lang="en-US" sz="13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هدف استراتژیک مرتبط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r>
                        <a:rPr lang="fa-IR" sz="13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B Nazanin" pitchFamily="2" charset="-78"/>
                        </a:rPr>
                        <a:t>نوآوری در تولید و ارائه خدمات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9219975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برنامه جامع استراتژیک مرتبط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a-IR" sz="15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B Nazanin"/>
                          <a:ea typeface="+mn-ea"/>
                          <a:cs typeface="B Nazanin" pitchFamily="2" charset="-78"/>
                        </a:rPr>
                        <a:t>نوآوری و بهبود در زنجیره عرضه</a:t>
                      </a:r>
                      <a:endParaRPr kumimoji="0" lang="en-US" sz="15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67128"/>
                  </a:ext>
                </a:extLst>
              </a:tr>
            </a:tbl>
          </a:graphicData>
        </a:graphic>
      </p:graphicFrame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4889402"/>
              </p:ext>
            </p:extLst>
          </p:nvPr>
        </p:nvGraphicFramePr>
        <p:xfrm>
          <a:off x="614366" y="1521396"/>
          <a:ext cx="4259961" cy="2544995"/>
        </p:xfrm>
        <a:graphic>
          <a:graphicData uri="http://schemas.openxmlformats.org/drawingml/2006/table">
            <a:tbl>
              <a:tblPr rtl="1"/>
              <a:tblGrid>
                <a:gridCol w="21309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90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4295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واحد متولی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مدیریت تحقیق و توسعه</a:t>
                      </a:r>
                      <a:endParaRPr lang="en-US" sz="15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295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نام متولی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0" i="0" u="none" strike="noStrike" kern="1200" dirty="0" err="1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الیاس</a:t>
                      </a:r>
                      <a:r>
                        <a:rPr lang="fa-IR" sz="15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 نیرومند</a:t>
                      </a:r>
                      <a:endParaRPr lang="en-US" sz="15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295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نام مجری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0" i="0" u="none" strike="noStrike" kern="1200" dirty="0" err="1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الیاس</a:t>
                      </a:r>
                      <a:r>
                        <a:rPr lang="fa-IR" sz="15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 نیرومند</a:t>
                      </a:r>
                      <a:endParaRPr lang="en-US" sz="15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7426199"/>
                  </a:ext>
                </a:extLst>
              </a:tr>
              <a:tr h="573520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یم همکار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محسن حیدریان - منوچهر فرهنگ منش – سید منصور رضویان</a:t>
                      </a:r>
                      <a:endParaRPr lang="en-US" sz="15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909109"/>
                  </a:ext>
                </a:extLst>
              </a:tr>
              <a:tr h="39429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اريخ</a:t>
                      </a: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شروع (برنامه ای)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1500" b="0" i="0" u="none" strike="noStrike" dirty="0" smtClean="0">
                          <a:solidFill>
                            <a:schemeClr val="tx1"/>
                          </a:solidFill>
                          <a:latin typeface="B Nazanin"/>
                          <a:cs typeface="B Nazanin" pitchFamily="2" charset="-78"/>
                        </a:rPr>
                        <a:t>97/09/01</a:t>
                      </a:r>
                      <a:endParaRPr lang="en-US" sz="1500" b="0" i="0" u="none" strike="noStrike" dirty="0">
                        <a:solidFill>
                          <a:schemeClr val="tx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29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اريخ</a:t>
                      </a: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پایان (برنامه ای)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0" i="0" u="none" strike="noStrike" dirty="0" smtClean="0">
                          <a:solidFill>
                            <a:schemeClr val="tx1"/>
                          </a:solidFill>
                          <a:latin typeface="B Nazanin"/>
                          <a:cs typeface="B Nazanin" pitchFamily="2" charset="-78"/>
                        </a:rPr>
                        <a:t>98/06/01</a:t>
                      </a:r>
                      <a:endParaRPr lang="en-US" sz="1500" b="0" i="0" u="none" strike="noStrike" dirty="0">
                        <a:solidFill>
                          <a:schemeClr val="tx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 smtClean="0"/>
              <a:t>وضعیت اجرای اقدام استراتژیک</a:t>
            </a:r>
            <a:endParaRPr lang="fa-IR" dirty="0"/>
          </a:p>
        </p:txBody>
      </p:sp>
      <p:sp>
        <p:nvSpPr>
          <p:cNvPr id="23" name="Rounded Rectangle 22"/>
          <p:cNvSpPr/>
          <p:nvPr/>
        </p:nvSpPr>
        <p:spPr bwMode="auto">
          <a:xfrm>
            <a:off x="4114800" y="910774"/>
            <a:ext cx="5359400" cy="432000"/>
          </a:xfrm>
          <a:prstGeom prst="roundRect">
            <a:avLst>
              <a:gd name="adj" fmla="val 50000"/>
            </a:avLst>
          </a:prstGeom>
          <a:solidFill>
            <a:srgbClr val="C8666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endParaRPr lang="fa-IR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4" name="Title 15"/>
          <p:cNvSpPr txBox="1">
            <a:spLocks/>
          </p:cNvSpPr>
          <p:nvPr/>
        </p:nvSpPr>
        <p:spPr bwMode="auto">
          <a:xfrm>
            <a:off x="4167266" y="909863"/>
            <a:ext cx="4587802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rtl="1">
              <a:spcBef>
                <a:spcPct val="0"/>
              </a:spcBef>
              <a:defRPr/>
            </a:pPr>
            <a:r>
              <a:rPr lang="fa-IR" sz="2000" b="1" smtClean="0">
                <a:solidFill>
                  <a:srgbClr val="FFFFFF"/>
                </a:solidFill>
                <a:latin typeface="B Nazanin"/>
                <a:cs typeface="B Nazanin" pitchFamily="2" charset="-78"/>
              </a:rPr>
              <a:t>نماي كلي</a:t>
            </a:r>
            <a:endParaRPr lang="fa-IR" sz="2000" b="1" kern="0" spc="-30" smtClean="0">
              <a:solidFill>
                <a:srgbClr val="FFFFFF"/>
              </a:solidFill>
              <a:latin typeface="Arial"/>
              <a:cs typeface="B Nazanin" pitchFamily="2" charset="-78"/>
            </a:endParaRPr>
          </a:p>
        </p:txBody>
      </p:sp>
      <p:pic>
        <p:nvPicPr>
          <p:cNvPr id="26" name="Picture 25" descr="Magnifyer 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819446" y="792681"/>
            <a:ext cx="666000" cy="666000"/>
          </a:xfrm>
          <a:prstGeom prst="rect">
            <a:avLst/>
          </a:prstGeom>
        </p:spPr>
      </p:pic>
      <p:graphicFrame>
        <p:nvGraphicFramePr>
          <p:cNvPr id="43" name="Chart 42"/>
          <p:cNvGraphicFramePr/>
          <p:nvPr>
            <p:extLst>
              <p:ext uri="{D42A27DB-BD31-4B8C-83A1-F6EECF244321}">
                <p14:modId xmlns:p14="http://schemas.microsoft.com/office/powerpoint/2010/main" val="731248623"/>
              </p:ext>
            </p:extLst>
          </p:nvPr>
        </p:nvGraphicFramePr>
        <p:xfrm>
          <a:off x="631486" y="4533900"/>
          <a:ext cx="4197689" cy="18642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8059156"/>
              </p:ext>
            </p:extLst>
          </p:nvPr>
        </p:nvGraphicFramePr>
        <p:xfrm>
          <a:off x="4954137" y="4129640"/>
          <a:ext cx="4262566" cy="2293200"/>
        </p:xfrm>
        <a:graphic>
          <a:graphicData uri="http://schemas.openxmlformats.org/drawingml/2006/table">
            <a:tbl>
              <a:tblPr rtl="1"/>
              <a:tblGrid>
                <a:gridCol w="14208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20856">
                  <a:extLst>
                    <a:ext uri="{9D8B030D-6E8A-4147-A177-3AD203B41FA5}">
                      <a16:colId xmlns:a16="http://schemas.microsoft.com/office/drawing/2014/main" val="72834989"/>
                    </a:ext>
                  </a:extLst>
                </a:gridCol>
                <a:gridCol w="1420855">
                  <a:extLst>
                    <a:ext uri="{9D8B030D-6E8A-4147-A177-3AD203B41FA5}">
                      <a16:colId xmlns:a16="http://schemas.microsoft.com/office/drawing/2014/main" val="639004351"/>
                    </a:ext>
                  </a:extLst>
                </a:gridCol>
              </a:tblGrid>
              <a:tr h="450352">
                <a:tc gridSpan="3"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وضعیت پیشرفت</a:t>
                      </a:r>
                      <a:r>
                        <a:rPr lang="fa-IR" sz="14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قدام استراتژیک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0179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100% الی 95%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95% الی 85%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66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85% الی 0%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4223">
                <a:tc gridSpan="2"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درصد پیشرفت </a:t>
                      </a:r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جمیعی</a:t>
                      </a: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برنامه</a:t>
                      </a:r>
                      <a:r>
                        <a:rPr lang="fa-IR" sz="14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ی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r>
                        <a:rPr lang="fa-IR" sz="1600" b="1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80</a:t>
                      </a:r>
                      <a:r>
                        <a:rPr lang="en-US" sz="1600" b="1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%</a:t>
                      </a:r>
                      <a:endParaRPr lang="en-US" sz="1600" b="1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4223">
                <a:tc gridSpan="2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درصد پیشرفت </a:t>
                      </a:r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جمیعی</a:t>
                      </a: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واقعی</a:t>
                      </a: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r>
                        <a:rPr lang="fa-IR" sz="1600" b="1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35%</a:t>
                      </a:r>
                      <a:endParaRPr lang="en-US" sz="1600" b="1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2422588"/>
                  </a:ext>
                </a:extLst>
              </a:tr>
              <a:tr h="474223">
                <a:tc gridSpan="2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درصد</a:t>
                      </a:r>
                      <a:r>
                        <a:rPr lang="fa-IR" sz="14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تحقق برنامه</a:t>
                      </a:r>
                    </a:p>
                    <a:p>
                      <a:pPr marL="0" marR="0" lvl="0" indent="0" algn="ctr" defTabSz="914400" rtl="1" eaLnBrk="1" fontAlgn="ctr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100" b="1" i="0" u="none" strike="noStrike" spc="0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(پیشرفت واقعی تقسیم بر پیشرفت برنامه ای)</a:t>
                      </a: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r>
                        <a:rPr lang="fa-IR" sz="1600" b="1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44%</a:t>
                      </a:r>
                      <a:endParaRPr lang="en-US" sz="1600" b="1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0925430"/>
                  </a:ext>
                </a:extLst>
              </a:tr>
            </a:tbl>
          </a:graphicData>
        </a:graphic>
      </p:graphicFrame>
      <p:graphicFrame>
        <p:nvGraphicFramePr>
          <p:cNvPr id="12" name="Object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23629195"/>
              </p:ext>
            </p:extLst>
          </p:nvPr>
        </p:nvGraphicFramePr>
        <p:xfrm>
          <a:off x="443343" y="95610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9" name="Worksheet" showAsIcon="1" r:id="rId5" imgW="914400" imgH="771480" progId="Excel.Sheet.12">
                  <p:embed/>
                </p:oleObj>
              </mc:Choice>
              <mc:Fallback>
                <p:oleObj name="Worksheet" showAsIcon="1" r:id="rId5" imgW="914400" imgH="771480" progId="Excel.Sheet.12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3343" y="956100"/>
                        <a:ext cx="914400" cy="7715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95490352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ounded Rectangle 18"/>
          <p:cNvSpPr/>
          <p:nvPr/>
        </p:nvSpPr>
        <p:spPr bwMode="auto">
          <a:xfrm>
            <a:off x="4114800" y="910774"/>
            <a:ext cx="5172075" cy="432000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Title 15"/>
          <p:cNvSpPr txBox="1">
            <a:spLocks/>
          </p:cNvSpPr>
          <p:nvPr/>
        </p:nvSpPr>
        <p:spPr bwMode="auto">
          <a:xfrm>
            <a:off x="4167266" y="909863"/>
            <a:ext cx="4587802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r" rtl="1">
              <a:spcBef>
                <a:spcPct val="0"/>
              </a:spcBef>
              <a:defRPr/>
            </a:pPr>
            <a:r>
              <a:rPr lang="fa-IR" sz="2000" b="1" kern="0" spc="-30" smtClean="0">
                <a:solidFill>
                  <a:schemeClr val="bg1"/>
                </a:solidFill>
                <a:latin typeface="+mj-lt"/>
                <a:ea typeface="+mj-ea"/>
                <a:cs typeface="B Nazanin" pitchFamily="2" charset="-78"/>
              </a:rPr>
              <a:t>نماي تفصيلي</a:t>
            </a:r>
          </a:p>
        </p:txBody>
      </p:sp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/>
              <a:t>وضعیت اجرای اقدام استراتژیک</a:t>
            </a:r>
          </a:p>
        </p:txBody>
      </p:sp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2980669"/>
              </p:ext>
            </p:extLst>
          </p:nvPr>
        </p:nvGraphicFramePr>
        <p:xfrm>
          <a:off x="230692" y="1626889"/>
          <a:ext cx="9438288" cy="4330092"/>
        </p:xfrm>
        <a:graphic>
          <a:graphicData uri="http://schemas.openxmlformats.org/drawingml/2006/table">
            <a:tbl>
              <a:tblPr rtl="1"/>
              <a:tblGrid>
                <a:gridCol w="4763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0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35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1761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53127">
                  <a:extLst>
                    <a:ext uri="{9D8B030D-6E8A-4147-A177-3AD203B41FA5}">
                      <a16:colId xmlns:a16="http://schemas.microsoft.com/office/drawing/2014/main" val="2813668953"/>
                    </a:ext>
                  </a:extLst>
                </a:gridCol>
                <a:gridCol w="2694281">
                  <a:extLst>
                    <a:ext uri="{9D8B030D-6E8A-4147-A177-3AD203B41FA5}">
                      <a16:colId xmlns:a16="http://schemas.microsoft.com/office/drawing/2014/main" val="1795941034"/>
                    </a:ext>
                  </a:extLst>
                </a:gridCol>
                <a:gridCol w="678662">
                  <a:extLst>
                    <a:ext uri="{9D8B030D-6E8A-4147-A177-3AD203B41FA5}">
                      <a16:colId xmlns:a16="http://schemas.microsoft.com/office/drawing/2014/main" val="250335139"/>
                    </a:ext>
                  </a:extLst>
                </a:gridCol>
                <a:gridCol w="67866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498884">
                <a:tc rowSpan="2"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رديف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70C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1" fontAlgn="ctr"/>
                      <a:r>
                        <a:rPr lang="fa-IR" sz="15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طرح اجرایی اقدام استراتژیک</a:t>
                      </a:r>
                      <a:endParaRPr lang="fa-IR" sz="15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1" fontAlgn="ctr"/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3E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1" fontAlgn="ctr"/>
                      <a:endParaRPr lang="fa-IR" sz="15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1"/>
                      <a:r>
                        <a:rPr lang="fa-IR" sz="15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ea typeface="+mn-ea"/>
                          <a:cs typeface="B Nazanin" pitchFamily="2" charset="-78"/>
                        </a:rPr>
                        <a:t>وضعیت اجرای اقدام استراتژیک</a:t>
                      </a:r>
                      <a:endParaRPr lang="fa-IR" sz="1500" b="1" i="0" u="none" strike="noStrike" kern="1200" dirty="0">
                        <a:solidFill>
                          <a:srgbClr val="FFFFFF"/>
                        </a:solidFill>
                        <a:effectLst/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884">
                <a:tc v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فعالیت های اصلی اقدام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درصد وزن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خروجی قابل تحویل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زمان تحویل</a:t>
                      </a:r>
                    </a:p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(برنامه ای)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خروجی تحویل شده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زمان تحویل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درصد تحقق فعالیت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097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effectLst/>
                          <a:latin typeface="B Nazanin"/>
                          <a:cs typeface="B Nazanin" pitchFamily="2" charset="-78"/>
                        </a:rPr>
                        <a:t>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تشکیل تیم کاری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5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تیم کاری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09/1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تیم</a:t>
                      </a:r>
                      <a:r>
                        <a:rPr lang="fa-IR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 کاری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09/15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5%</a:t>
                      </a:r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097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effectLst/>
                          <a:latin typeface="B Nazanin"/>
                          <a:cs typeface="B Nazanin" pitchFamily="2" charset="-78"/>
                        </a:rPr>
                        <a:t>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مطالعات در خصوص انواع بسته بندی و حمل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15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گزارش انواع روش های بسته بندی و حمل و مزایا و معایب آن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11/0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گزارش انواع روش های بسته بندی و حمل و مزایا و معایب آن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10/15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15</a:t>
                      </a:r>
                      <a:r>
                        <a:rPr lang="fa-IR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%</a:t>
                      </a:r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097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effectLst/>
                          <a:latin typeface="B Nazanin"/>
                          <a:cs typeface="B Nazanin" pitchFamily="2" charset="-78"/>
                        </a:rPr>
                        <a:t>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تعیین الزامات و مقررات فنی و اقتصادی و زیست محیطی بازارهای هدف از طرف واحد بازرگانی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15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لیست الزامات در نوآوری جهت بسته بندی و حمل محصول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12/2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تهیه لیست الزامات بسته بندی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97/12/29</a:t>
                      </a:r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15</a:t>
                      </a:r>
                      <a:r>
                        <a:rPr lang="fa-IR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%</a:t>
                      </a:r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74248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5</a:t>
                      </a:r>
                      <a:endParaRPr lang="fa-IR" sz="1300" b="1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امکان سنجی فنی بسته بندی مورد نظر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45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گزارش و سرفصل های مقدماتی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8/04/0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گزارش</a:t>
                      </a:r>
                      <a:r>
                        <a:rPr lang="fa-IR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 امکانسنجی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0619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6</a:t>
                      </a:r>
                      <a:endParaRPr lang="fa-IR" sz="1300" b="1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تهیه گزارش نهایی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20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گزارش نهایی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8/06/0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/>
                      <a:endParaRPr lang="fa-IR" sz="1500" dirty="0"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/>
                      <a:endParaRPr lang="fa-IR" sz="1500" dirty="0"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0975">
                <a:tc gridSpan="2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مجموع</a:t>
                      </a: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3E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100%</a:t>
                      </a: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500" b="0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500" b="0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1" fontAlgn="ctr"/>
                      <a:r>
                        <a:rPr lang="fa-IR" sz="15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مجموع</a:t>
                      </a: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rtl="1" fontAlgn="ctr"/>
                      <a:endParaRPr lang="fa-IR" sz="1500" b="0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35%</a:t>
                      </a: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256993"/>
                  </a:ext>
                </a:extLst>
              </a:tr>
            </a:tbl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0041" y="792681"/>
            <a:ext cx="664809" cy="66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360928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09" name="Picture 1" descr="C:\Documents and Settings\Khanbabaie_F\Desktop\16915464-breaking-trend-with-five-why-methodology-modern-six-sigma-concept copy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8512" y="471180"/>
            <a:ext cx="2237447" cy="118653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3759768"/>
              </p:ext>
            </p:extLst>
          </p:nvPr>
        </p:nvGraphicFramePr>
        <p:xfrm>
          <a:off x="819624" y="1692165"/>
          <a:ext cx="8654576" cy="4987832"/>
        </p:xfrm>
        <a:graphic>
          <a:graphicData uri="http://schemas.openxmlformats.org/drawingml/2006/table">
            <a:tbl>
              <a:tblPr rtl="1"/>
              <a:tblGrid>
                <a:gridCol w="86545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205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6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حلیل ریشه ای انحراف اجرای اقدام</a:t>
                      </a:r>
                      <a:r>
                        <a:rPr lang="fa-IR" sz="16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ز برنامه</a:t>
                      </a:r>
                      <a:endParaRPr lang="fa-IR" sz="16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1- </a:t>
                      </a:r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امکان</a:t>
                      </a:r>
                      <a:r>
                        <a:rPr lang="fa-IR" sz="1400" b="0" i="0" u="none" strike="noStrike" kern="1200" baseline="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 سنجی بسته مورد نظر به دلیل عدم تعیین بسته بندی مناسب انجام نشده چراکه جلسه درون واحدی و جلسه میان طرح و برنامه، بازرگانی و تحقیق و توسعه در زمینه انتخاب بسته بندی مناسب تشکیل نشده. از دیگر  دلایل تاخیر این اقدام به دریافت گزارشات بازرگانی در اواخر خردادماه 98 میتوان اشاره کرد.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2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3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4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5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405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6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چالش های اصلی اجرای اقدام</a:t>
                      </a:r>
                      <a:r>
                        <a:rPr lang="fa-IR" sz="16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ستراتژیک</a:t>
                      </a:r>
                      <a:endParaRPr lang="fa-IR" sz="16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435803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1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4544636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2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1111933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3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4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5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/>
              <a:t>وضعیت اجرای اقدام استراتژیک</a:t>
            </a:r>
          </a:p>
        </p:txBody>
      </p:sp>
      <p:sp>
        <p:nvSpPr>
          <p:cNvPr id="10" name="Rounded Rectangle 9"/>
          <p:cNvSpPr/>
          <p:nvPr/>
        </p:nvSpPr>
        <p:spPr bwMode="auto">
          <a:xfrm>
            <a:off x="4114800" y="910774"/>
            <a:ext cx="5359400" cy="432000"/>
          </a:xfrm>
          <a:prstGeom prst="roundRect">
            <a:avLst>
              <a:gd name="adj" fmla="val 50000"/>
            </a:avLst>
          </a:prstGeom>
          <a:solidFill>
            <a:srgbClr val="33CCFF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Title 15"/>
          <p:cNvSpPr txBox="1">
            <a:spLocks/>
          </p:cNvSpPr>
          <p:nvPr/>
        </p:nvSpPr>
        <p:spPr bwMode="auto">
          <a:xfrm>
            <a:off x="4167266" y="909863"/>
            <a:ext cx="4587802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r" rtl="1">
              <a:spcBef>
                <a:spcPct val="0"/>
              </a:spcBef>
              <a:defRPr/>
            </a:pPr>
            <a:r>
              <a:rPr lang="fa-IR" sz="2000" b="1" kern="0" spc="-30" dirty="0" smtClean="0">
                <a:solidFill>
                  <a:schemeClr val="bg1"/>
                </a:solidFill>
                <a:latin typeface="+mj-lt"/>
                <a:ea typeface="+mj-ea"/>
                <a:cs typeface="B Nazanin" pitchFamily="2" charset="-78"/>
              </a:rPr>
              <a:t>تحلیل روند اجرای اقدام استراتژیک</a:t>
            </a:r>
          </a:p>
        </p:txBody>
      </p:sp>
      <p:pic>
        <p:nvPicPr>
          <p:cNvPr id="14" name="Picture 13" descr="Trend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820148" y="793748"/>
            <a:ext cx="666000" cy="66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047731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47649" y="1455678"/>
            <a:ext cx="9401175" cy="794038"/>
          </a:xfrm>
        </p:spPr>
        <p:txBody>
          <a:bodyPr/>
          <a:lstStyle/>
          <a:p>
            <a:r>
              <a:rPr lang="fa-IR" dirty="0"/>
              <a:t>بهبود فرآیندهای تحقیق و توسعه شرکت در </a:t>
            </a:r>
            <a:r>
              <a:rPr lang="fa-IR" dirty="0" smtClean="0"/>
              <a:t>تولید</a:t>
            </a:r>
            <a:br>
              <a:rPr lang="fa-IR" dirty="0" smtClean="0"/>
            </a:br>
            <a:r>
              <a:rPr lang="fa-IR" dirty="0" smtClean="0"/>
              <a:t> </a:t>
            </a:r>
            <a:r>
              <a:rPr lang="fa-IR" dirty="0"/>
              <a:t>و زنجیره عرضه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930550" y="2718563"/>
            <a:ext cx="3653350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fa-IR" sz="2000" b="1" dirty="0" smtClean="0">
                <a:solidFill>
                  <a:schemeClr val="accent5">
                    <a:lumMod val="25000"/>
                  </a:schemeClr>
                </a:solidFill>
                <a:cs typeface="B Nazanin" panose="00000400000000000000" pitchFamily="2" charset="-78"/>
              </a:rPr>
              <a:t>منتهی به </a:t>
            </a:r>
            <a:r>
              <a:rPr lang="fa-IR" sz="2000" b="1" dirty="0">
                <a:solidFill>
                  <a:schemeClr val="accent5">
                    <a:lumMod val="25000"/>
                  </a:schemeClr>
                </a:solidFill>
                <a:cs typeface="B Nazanin" panose="00000400000000000000" pitchFamily="2" charset="-78"/>
              </a:rPr>
              <a:t>آذر </a:t>
            </a:r>
            <a:r>
              <a:rPr lang="fa-IR" sz="2000" b="1" dirty="0" smtClean="0">
                <a:solidFill>
                  <a:schemeClr val="accent5">
                    <a:lumMod val="25000"/>
                  </a:schemeClr>
                </a:solidFill>
                <a:cs typeface="B Nazanin" panose="00000400000000000000" pitchFamily="2" charset="-78"/>
              </a:rPr>
              <a:t>ماه سال 1397</a:t>
            </a:r>
            <a:endParaRPr lang="fa-IR" sz="2000" b="1" dirty="0">
              <a:solidFill>
                <a:schemeClr val="accent5">
                  <a:lumMod val="25000"/>
                </a:schemeClr>
              </a:solidFill>
              <a:cs typeface="B Nazanin" panose="00000400000000000000" pitchFamily="2" charset="-78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747825" y="5461763"/>
            <a:ext cx="2510350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2800" spc="-40" dirty="0" smtClean="0">
                <a:solidFill>
                  <a:srgbClr val="338E89"/>
                </a:solidFill>
                <a:cs typeface="B Nazanin" panose="00000400000000000000" pitchFamily="2" charset="-78"/>
              </a:rPr>
              <a:t>SP97-06-05</a:t>
            </a:r>
            <a:endParaRPr lang="en-US" sz="2800" spc="-40" dirty="0">
              <a:solidFill>
                <a:srgbClr val="338E89"/>
              </a:solidFill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079119038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le 14"/>
          <p:cNvGraphicFramePr>
            <a:graphicFrameLocks noGrp="1"/>
          </p:cNvGraphicFramePr>
          <p:nvPr>
            <p:extLst/>
          </p:nvPr>
        </p:nvGraphicFramePr>
        <p:xfrm>
          <a:off x="614366" y="4129641"/>
          <a:ext cx="4265170" cy="2293200"/>
        </p:xfrm>
        <a:graphic>
          <a:graphicData uri="http://schemas.openxmlformats.org/drawingml/2006/table">
            <a:tbl>
              <a:tblPr rtl="1"/>
              <a:tblGrid>
                <a:gridCol w="42651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4400">
                <a:tc>
                  <a:txBody>
                    <a:bodyPr/>
                    <a:lstStyle/>
                    <a:p>
                      <a:pPr algn="ctr" rtl="1" fontAlgn="ctr">
                        <a:lnSpc>
                          <a:spcPct val="110000"/>
                        </a:lnSpc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روند پیشرفت </a:t>
                      </a:r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جمیعی</a:t>
                      </a:r>
                      <a:r>
                        <a:rPr lang="fa-IR" sz="14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قدام استراتژیک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18800">
                <a:tc>
                  <a:txBody>
                    <a:bodyPr/>
                    <a:lstStyle/>
                    <a:p>
                      <a:pPr marL="57150" indent="0" algn="r" rtl="1" fontAlgn="ctr">
                        <a:lnSpc>
                          <a:spcPct val="110000"/>
                        </a:lnSpc>
                        <a:buFont typeface="Arial" pitchFamily="34" charset="0"/>
                        <a:buNone/>
                      </a:pPr>
                      <a:endParaRPr lang="fa-IR" sz="2200" b="1" i="0" u="none" strike="noStrike" dirty="0" smtClean="0">
                        <a:solidFill>
                          <a:schemeClr val="tx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7828285"/>
              </p:ext>
            </p:extLst>
          </p:nvPr>
        </p:nvGraphicFramePr>
        <p:xfrm>
          <a:off x="4954137" y="1523999"/>
          <a:ext cx="4263102" cy="2540322"/>
        </p:xfrm>
        <a:graphic>
          <a:graphicData uri="http://schemas.openxmlformats.org/drawingml/2006/table">
            <a:tbl>
              <a:tblPr rtl="1"/>
              <a:tblGrid>
                <a:gridCol w="21340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90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136322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نام اقدام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>
                        <a:lnSpc>
                          <a:spcPct val="100000"/>
                        </a:lnSpc>
                      </a:pPr>
                      <a:r>
                        <a:rPr lang="fa-IR" sz="1500" b="0" i="0" u="none" strike="noStrike" kern="1200" dirty="0" smtClean="0">
                          <a:solidFill>
                            <a:schemeClr val="tx1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بهبود فرآیندهای تحقیق و توسعه شرکت در تولید و زنجیره عرضه</a:t>
                      </a:r>
                      <a:endParaRPr lang="en-US" sz="1500" b="0" i="0" u="none" strike="noStrike" kern="1200" dirty="0">
                        <a:solidFill>
                          <a:schemeClr val="tx1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کد اقدام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3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B Nazanin" pitchFamily="2" charset="-78"/>
                        </a:rPr>
                        <a:t>SP97-06-05</a:t>
                      </a:r>
                      <a:endParaRPr lang="en-US" sz="13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هدف استراتژیک مرتبط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r>
                        <a:rPr lang="fa-IR" sz="13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B Nazanin" pitchFamily="2" charset="-78"/>
                        </a:rPr>
                        <a:t>نوآوری در تولید و ارائه خدمات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9219975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برنامه جامع استراتژیک مرتبط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a-IR" sz="15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B Nazanin"/>
                          <a:ea typeface="+mn-ea"/>
                          <a:cs typeface="B Nazanin" pitchFamily="2" charset="-78"/>
                        </a:rPr>
                        <a:t>نوآوری و بهبود در زنجیره عرضه</a:t>
                      </a:r>
                      <a:endParaRPr kumimoji="0" lang="en-US" sz="15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67128"/>
                  </a:ext>
                </a:extLst>
              </a:tr>
            </a:tbl>
          </a:graphicData>
        </a:graphic>
      </p:graphicFrame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9957199"/>
              </p:ext>
            </p:extLst>
          </p:nvPr>
        </p:nvGraphicFramePr>
        <p:xfrm>
          <a:off x="614366" y="1521396"/>
          <a:ext cx="4259961" cy="2544995"/>
        </p:xfrm>
        <a:graphic>
          <a:graphicData uri="http://schemas.openxmlformats.org/drawingml/2006/table">
            <a:tbl>
              <a:tblPr rtl="1"/>
              <a:tblGrid>
                <a:gridCol w="21309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90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4295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واحد متولی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مدیریت تحقیق و توسعه</a:t>
                      </a:r>
                      <a:endParaRPr lang="en-US" sz="15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295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نام متولی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0" i="0" u="none" strike="noStrike" kern="1200" dirty="0" err="1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الیاس</a:t>
                      </a:r>
                      <a:r>
                        <a:rPr lang="fa-IR" sz="15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 نیرومند</a:t>
                      </a:r>
                      <a:endParaRPr lang="en-US" sz="15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295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نام مجری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0" i="0" u="none" strike="noStrike" kern="1200" dirty="0" err="1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الیاس</a:t>
                      </a:r>
                      <a:r>
                        <a:rPr lang="fa-IR" sz="15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 نیرومند</a:t>
                      </a:r>
                      <a:endParaRPr lang="en-US" sz="15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7426199"/>
                  </a:ext>
                </a:extLst>
              </a:tr>
              <a:tr h="573520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یم همکار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محسن حیدریان – سعید بهنام – علیرضا </a:t>
                      </a:r>
                      <a:r>
                        <a:rPr lang="fa-IR" sz="1500" b="0" i="0" u="none" strike="noStrike" kern="1200" dirty="0" err="1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بهنیا</a:t>
                      </a:r>
                      <a:endParaRPr lang="en-US" sz="15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909109"/>
                  </a:ext>
                </a:extLst>
              </a:tr>
              <a:tr h="39429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اريخ</a:t>
                      </a: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شروع (برنامه ای)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1500" b="0" i="0" u="none" strike="noStrike" dirty="0" smtClean="0">
                          <a:solidFill>
                            <a:schemeClr val="tx1"/>
                          </a:solidFill>
                          <a:latin typeface="B Nazanin"/>
                          <a:cs typeface="B Nazanin" pitchFamily="2" charset="-78"/>
                        </a:rPr>
                        <a:t>97/10/01</a:t>
                      </a:r>
                      <a:endParaRPr lang="en-US" sz="1500" b="0" i="0" u="none" strike="noStrike" dirty="0">
                        <a:solidFill>
                          <a:schemeClr val="tx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29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اريخ</a:t>
                      </a: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پایان (برنامه ای)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0" i="0" u="none" strike="noStrike" dirty="0" smtClean="0">
                          <a:solidFill>
                            <a:schemeClr val="tx1"/>
                          </a:solidFill>
                          <a:latin typeface="B Nazanin"/>
                          <a:cs typeface="B Nazanin" pitchFamily="2" charset="-78"/>
                        </a:rPr>
                        <a:t>98/07/0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 smtClean="0"/>
              <a:t>وضعیت اجرای اقدام استراتژیک</a:t>
            </a:r>
            <a:endParaRPr lang="fa-IR" dirty="0"/>
          </a:p>
        </p:txBody>
      </p:sp>
      <p:sp>
        <p:nvSpPr>
          <p:cNvPr id="23" name="Rounded Rectangle 22"/>
          <p:cNvSpPr/>
          <p:nvPr/>
        </p:nvSpPr>
        <p:spPr bwMode="auto">
          <a:xfrm>
            <a:off x="4114800" y="910774"/>
            <a:ext cx="5359400" cy="432000"/>
          </a:xfrm>
          <a:prstGeom prst="roundRect">
            <a:avLst>
              <a:gd name="adj" fmla="val 50000"/>
            </a:avLst>
          </a:prstGeom>
          <a:solidFill>
            <a:srgbClr val="C8666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endParaRPr lang="fa-IR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4" name="Title 15"/>
          <p:cNvSpPr txBox="1">
            <a:spLocks/>
          </p:cNvSpPr>
          <p:nvPr/>
        </p:nvSpPr>
        <p:spPr bwMode="auto">
          <a:xfrm>
            <a:off x="4167266" y="909863"/>
            <a:ext cx="4587802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rtl="1">
              <a:spcBef>
                <a:spcPct val="0"/>
              </a:spcBef>
              <a:defRPr/>
            </a:pPr>
            <a:r>
              <a:rPr lang="fa-IR" sz="2000" b="1" smtClean="0">
                <a:solidFill>
                  <a:srgbClr val="FFFFFF"/>
                </a:solidFill>
                <a:latin typeface="B Nazanin"/>
                <a:cs typeface="B Nazanin" pitchFamily="2" charset="-78"/>
              </a:rPr>
              <a:t>نماي كلي</a:t>
            </a:r>
            <a:endParaRPr lang="fa-IR" sz="2000" b="1" kern="0" spc="-30" smtClean="0">
              <a:solidFill>
                <a:srgbClr val="FFFFFF"/>
              </a:solidFill>
              <a:latin typeface="Arial"/>
              <a:cs typeface="B Nazanin" pitchFamily="2" charset="-78"/>
            </a:endParaRPr>
          </a:p>
        </p:txBody>
      </p:sp>
      <p:pic>
        <p:nvPicPr>
          <p:cNvPr id="26" name="Picture 25" descr="Magnifyer 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819446" y="792681"/>
            <a:ext cx="666000" cy="666000"/>
          </a:xfrm>
          <a:prstGeom prst="rect">
            <a:avLst/>
          </a:prstGeom>
        </p:spPr>
      </p:pic>
      <p:graphicFrame>
        <p:nvGraphicFramePr>
          <p:cNvPr id="43" name="Chart 42"/>
          <p:cNvGraphicFramePr/>
          <p:nvPr>
            <p:extLst>
              <p:ext uri="{D42A27DB-BD31-4B8C-83A1-F6EECF244321}">
                <p14:modId xmlns:p14="http://schemas.microsoft.com/office/powerpoint/2010/main" val="2965915597"/>
              </p:ext>
            </p:extLst>
          </p:nvPr>
        </p:nvGraphicFramePr>
        <p:xfrm>
          <a:off x="631486" y="4533900"/>
          <a:ext cx="4197689" cy="18642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6009356"/>
              </p:ext>
            </p:extLst>
          </p:nvPr>
        </p:nvGraphicFramePr>
        <p:xfrm>
          <a:off x="4954137" y="4129640"/>
          <a:ext cx="4262566" cy="2293200"/>
        </p:xfrm>
        <a:graphic>
          <a:graphicData uri="http://schemas.openxmlformats.org/drawingml/2006/table">
            <a:tbl>
              <a:tblPr rtl="1"/>
              <a:tblGrid>
                <a:gridCol w="14208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20856">
                  <a:extLst>
                    <a:ext uri="{9D8B030D-6E8A-4147-A177-3AD203B41FA5}">
                      <a16:colId xmlns:a16="http://schemas.microsoft.com/office/drawing/2014/main" val="72834989"/>
                    </a:ext>
                  </a:extLst>
                </a:gridCol>
                <a:gridCol w="1420855">
                  <a:extLst>
                    <a:ext uri="{9D8B030D-6E8A-4147-A177-3AD203B41FA5}">
                      <a16:colId xmlns:a16="http://schemas.microsoft.com/office/drawing/2014/main" val="639004351"/>
                    </a:ext>
                  </a:extLst>
                </a:gridCol>
              </a:tblGrid>
              <a:tr h="450352">
                <a:tc gridSpan="3"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وضعیت پیشرفت</a:t>
                      </a:r>
                      <a:r>
                        <a:rPr lang="fa-IR" sz="14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قدام استراتژیک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0179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100% الی 95%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95% الی 85%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66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85% الی 0%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4223">
                <a:tc gridSpan="2"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درصد پیشرفت </a:t>
                      </a:r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جمیعی</a:t>
                      </a: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برنامه</a:t>
                      </a:r>
                      <a:r>
                        <a:rPr lang="fa-IR" sz="14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ی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r>
                        <a:rPr lang="fa-IR" sz="1600" b="1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60%</a:t>
                      </a:r>
                      <a:endParaRPr lang="en-US" sz="1600" b="1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4223">
                <a:tc gridSpan="2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درصد پیشرفت </a:t>
                      </a:r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جمیعی</a:t>
                      </a: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واقعی</a:t>
                      </a: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r>
                        <a:rPr lang="fa-IR" sz="1600" b="1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60%</a:t>
                      </a:r>
                      <a:endParaRPr lang="en-US" sz="1600" b="1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2422588"/>
                  </a:ext>
                </a:extLst>
              </a:tr>
              <a:tr h="474223">
                <a:tc gridSpan="2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درصد</a:t>
                      </a:r>
                      <a:r>
                        <a:rPr lang="fa-IR" sz="14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تحقق برنامه</a:t>
                      </a:r>
                    </a:p>
                    <a:p>
                      <a:pPr marL="0" marR="0" lvl="0" indent="0" algn="ctr" defTabSz="914400" rtl="1" eaLnBrk="1" fontAlgn="ctr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100" b="1" i="0" u="none" strike="noStrike" spc="0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(پیشرفت واقعی تقسیم بر پیشرفت برنامه ای)</a:t>
                      </a: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r>
                        <a:rPr lang="fa-IR" sz="1600" b="1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100%</a:t>
                      </a:r>
                      <a:endParaRPr lang="en-US" sz="1600" b="1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0925430"/>
                  </a:ext>
                </a:extLst>
              </a:tr>
            </a:tbl>
          </a:graphicData>
        </a:graphic>
      </p:graphicFrame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55867430"/>
              </p:ext>
            </p:extLst>
          </p:nvPr>
        </p:nvGraphicFramePr>
        <p:xfrm>
          <a:off x="443343" y="909863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8" name="Worksheet" showAsIcon="1" r:id="rId5" imgW="914400" imgH="771480" progId="Excel.Sheet.12">
                  <p:embed/>
                </p:oleObj>
              </mc:Choice>
              <mc:Fallback>
                <p:oleObj name="Worksheet" showAsIcon="1" r:id="rId5" imgW="914400" imgH="771480" progId="Excel.Sheet.12">
                  <p:embed/>
                  <p:pic>
                    <p:nvPicPr>
                      <p:cNvPr id="0" name="Picture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3343" y="909863"/>
                        <a:ext cx="914400" cy="7715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26848749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ounded Rectangle 18"/>
          <p:cNvSpPr/>
          <p:nvPr/>
        </p:nvSpPr>
        <p:spPr bwMode="auto">
          <a:xfrm>
            <a:off x="4114800" y="910774"/>
            <a:ext cx="5172075" cy="432000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Title 15"/>
          <p:cNvSpPr txBox="1">
            <a:spLocks/>
          </p:cNvSpPr>
          <p:nvPr/>
        </p:nvSpPr>
        <p:spPr bwMode="auto">
          <a:xfrm>
            <a:off x="4167266" y="909863"/>
            <a:ext cx="4587802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r" rtl="1">
              <a:spcBef>
                <a:spcPct val="0"/>
              </a:spcBef>
              <a:defRPr/>
            </a:pPr>
            <a:r>
              <a:rPr lang="fa-IR" sz="2000" b="1" kern="0" spc="-30" smtClean="0">
                <a:solidFill>
                  <a:schemeClr val="bg1"/>
                </a:solidFill>
                <a:latin typeface="+mj-lt"/>
                <a:ea typeface="+mj-ea"/>
                <a:cs typeface="B Nazanin" pitchFamily="2" charset="-78"/>
              </a:rPr>
              <a:t>نماي تفصيلي</a:t>
            </a:r>
          </a:p>
        </p:txBody>
      </p:sp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/>
              <a:t>وضعیت اجرای اقدام استراتژیک</a:t>
            </a:r>
          </a:p>
        </p:txBody>
      </p:sp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7968187"/>
              </p:ext>
            </p:extLst>
          </p:nvPr>
        </p:nvGraphicFramePr>
        <p:xfrm>
          <a:off x="230692" y="1626889"/>
          <a:ext cx="9438288" cy="4299724"/>
        </p:xfrm>
        <a:graphic>
          <a:graphicData uri="http://schemas.openxmlformats.org/drawingml/2006/table">
            <a:tbl>
              <a:tblPr rtl="1"/>
              <a:tblGrid>
                <a:gridCol w="4763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0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35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1761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53127">
                  <a:extLst>
                    <a:ext uri="{9D8B030D-6E8A-4147-A177-3AD203B41FA5}">
                      <a16:colId xmlns:a16="http://schemas.microsoft.com/office/drawing/2014/main" val="2813668953"/>
                    </a:ext>
                  </a:extLst>
                </a:gridCol>
                <a:gridCol w="2694281">
                  <a:extLst>
                    <a:ext uri="{9D8B030D-6E8A-4147-A177-3AD203B41FA5}">
                      <a16:colId xmlns:a16="http://schemas.microsoft.com/office/drawing/2014/main" val="1795941034"/>
                    </a:ext>
                  </a:extLst>
                </a:gridCol>
                <a:gridCol w="678662">
                  <a:extLst>
                    <a:ext uri="{9D8B030D-6E8A-4147-A177-3AD203B41FA5}">
                      <a16:colId xmlns:a16="http://schemas.microsoft.com/office/drawing/2014/main" val="250335139"/>
                    </a:ext>
                  </a:extLst>
                </a:gridCol>
                <a:gridCol w="67866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498884">
                <a:tc rowSpan="2"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رديف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70C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1" fontAlgn="ctr"/>
                      <a:r>
                        <a:rPr lang="fa-IR" sz="15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طرح اجرایی اقدام استراتژیک</a:t>
                      </a:r>
                      <a:endParaRPr lang="fa-IR" sz="15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1" fontAlgn="ctr"/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3E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1" fontAlgn="ctr"/>
                      <a:endParaRPr lang="fa-IR" sz="15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1"/>
                      <a:r>
                        <a:rPr lang="fa-IR" sz="15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ea typeface="+mn-ea"/>
                          <a:cs typeface="B Nazanin" pitchFamily="2" charset="-78"/>
                        </a:rPr>
                        <a:t>وضعیت اجرای اقدام استراتژیک</a:t>
                      </a:r>
                      <a:endParaRPr lang="fa-IR" sz="1500" b="1" i="0" u="none" strike="noStrike" kern="1200" dirty="0">
                        <a:solidFill>
                          <a:srgbClr val="FFFFFF"/>
                        </a:solidFill>
                        <a:effectLst/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884">
                <a:tc v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فعالیت های اصلی اقدام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درصد وزن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خروجی قابل تحویل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زمان تحویل</a:t>
                      </a:r>
                    </a:p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(برنامه ای)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خروجی تحویل شده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زمان تحویل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درصد تحقق فعالیت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effectLst/>
                          <a:latin typeface="B Nazanin"/>
                          <a:cs typeface="B Nazanin" pitchFamily="2" charset="-78"/>
                        </a:rPr>
                        <a:t>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بررسی وضع موجود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5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گزارش شناخت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10/1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گزارش شناخت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10/15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5%</a:t>
                      </a:r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effectLst/>
                          <a:latin typeface="B Nazanin"/>
                          <a:cs typeface="B Nazanin" pitchFamily="2" charset="-78"/>
                        </a:rPr>
                        <a:t>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الگوبرداری و بررسی فرآیندهای تولیدی سایر شرکت های داخلی و خارجی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10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گزارش الگوبرداری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12/2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گزارش الگوبرداری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12/15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10</a:t>
                      </a:r>
                      <a:r>
                        <a:rPr lang="fa-IR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%</a:t>
                      </a:r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effectLst/>
                          <a:latin typeface="B Nazanin"/>
                          <a:cs typeface="B Nazanin" pitchFamily="2" charset="-78"/>
                        </a:rPr>
                        <a:t>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شناخت فرصت های بهبود برای ارتقای عملکرد فرآیندهای تولید، بسته بندی و حمل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30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لیست فرصت های بهبود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8/03/0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لیست فرصتهای</a:t>
                      </a:r>
                      <a:r>
                        <a:rPr lang="fa-IR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 بهبود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98/03/01</a:t>
                      </a:r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30%</a:t>
                      </a:r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4</a:t>
                      </a:r>
                      <a:endParaRPr lang="fa-IR" sz="1300" b="1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انتخاب فرصت های بهبود قابل اجرا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15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فرصت های بهبود انتخاب شده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8/04/01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فرصتهای بهبود انتخاب شده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98/04/01</a:t>
                      </a:r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15%</a:t>
                      </a:r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5</a:t>
                      </a:r>
                      <a:endParaRPr lang="fa-IR" sz="1300" b="1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تهیه گزارشات </a:t>
                      </a:r>
                      <a:r>
                        <a:rPr lang="fa-IR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توجیهی</a:t>
                      </a:r>
                      <a:endParaRPr lang="fa-IR" sz="1300" b="1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25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گزارشات </a:t>
                      </a:r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توجیهی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8/06/01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/>
                      <a:endParaRPr lang="fa-IR" sz="1500" dirty="0"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/>
                      <a:endParaRPr lang="fa-IR" sz="1500" dirty="0"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40572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6</a:t>
                      </a:r>
                      <a:endParaRPr lang="fa-IR" sz="1300" b="1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تصویب </a:t>
                      </a:r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طرح های دارای توجیه جهت اجرا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15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لیست طرح های تحقیق و توسعه مصوب جهت اجرا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8/07/0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/>
                      <a:endParaRPr lang="fa-IR" sz="1500" dirty="0"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/>
                      <a:endParaRPr lang="fa-IR" sz="1500" dirty="0"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0975">
                <a:tc gridSpan="2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مجموع</a:t>
                      </a: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3E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100%</a:t>
                      </a: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500" b="0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500" b="0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1" fontAlgn="ctr"/>
                      <a:r>
                        <a:rPr lang="fa-IR" sz="15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مجموع</a:t>
                      </a: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rtl="1" fontAlgn="ctr"/>
                      <a:endParaRPr lang="fa-IR" sz="1500" b="0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60%</a:t>
                      </a: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256993"/>
                  </a:ext>
                </a:extLst>
              </a:tr>
            </a:tbl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0041" y="792681"/>
            <a:ext cx="664809" cy="66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726363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 smtClean="0"/>
              <a:t>راهنمای تکمیل گزارش</a:t>
            </a:r>
            <a:endParaRPr lang="fa-IR" dirty="0"/>
          </a:p>
        </p:txBody>
      </p:sp>
      <p:sp>
        <p:nvSpPr>
          <p:cNvPr id="3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57048" y="1007620"/>
            <a:ext cx="8964481" cy="543522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</a:bodyPr>
          <a:lstStyle/>
          <a:p>
            <a:pPr marL="342900" lvl="1" indent="-228600" algn="just" rtl="1">
              <a:lnSpc>
                <a:spcPct val="110000"/>
              </a:lnSpc>
              <a:spcBef>
                <a:spcPts val="1200"/>
              </a:spcBef>
              <a:buSzPct val="110000"/>
              <a:buFont typeface="Wingdings"/>
              <a:buChar char="§"/>
              <a:defRPr/>
            </a:pPr>
            <a:r>
              <a:rPr lang="fa-IR" sz="2000" kern="0" dirty="0" smtClean="0">
                <a:cs typeface="B Nazanin" pitchFamily="2" charset="-78"/>
              </a:rPr>
              <a:t>همکاران گرامی این چارچوب گزارش (</a:t>
            </a:r>
            <a:r>
              <a:rPr lang="fa-IR" sz="2000" kern="0" dirty="0" err="1" smtClean="0">
                <a:cs typeface="B Nazanin" pitchFamily="2" charset="-78"/>
              </a:rPr>
              <a:t>تمپلیت</a:t>
            </a:r>
            <a:r>
              <a:rPr lang="fa-IR" sz="2000" kern="0" dirty="0" smtClean="0">
                <a:cs typeface="B Nazanin" pitchFamily="2" charset="-78"/>
              </a:rPr>
              <a:t>) با اهتمام واحد طرح و برنامه و راهبرد جهت سهولت و یکپارچه سازی گزارشات پیشرفت اقدامات استراتژیک هر معاونت/مدیریت تهیه و در اختیار شما قرار گرفته است.</a:t>
            </a:r>
          </a:p>
          <a:p>
            <a:pPr marL="342900" lvl="1" indent="-228600" algn="just" rtl="1">
              <a:lnSpc>
                <a:spcPct val="110000"/>
              </a:lnSpc>
              <a:spcBef>
                <a:spcPts val="1200"/>
              </a:spcBef>
              <a:buSzPct val="110000"/>
              <a:buFont typeface="Wingdings"/>
              <a:buChar char="§"/>
              <a:defRPr/>
            </a:pPr>
            <a:r>
              <a:rPr lang="fa-IR" sz="2000" kern="0" dirty="0" err="1" smtClean="0">
                <a:cs typeface="B Nazanin" pitchFamily="2" charset="-78"/>
              </a:rPr>
              <a:t>تمپلیت</a:t>
            </a:r>
            <a:r>
              <a:rPr lang="fa-IR" sz="2000" kern="0" dirty="0" smtClean="0">
                <a:cs typeface="B Nazanin" pitchFamily="2" charset="-78"/>
              </a:rPr>
              <a:t> کلیه اقدامات استراتژیک مربوط به معاونت/مدیریت شما در این فایل در ادامه هم قرار گرفته و هر اقدام شامل 3 اسلاید اصلی است که می بایست به صورت ماهانه به شرح ذیل تکمیل و در اختیار این واحد قرار گیرد:</a:t>
            </a:r>
          </a:p>
          <a:p>
            <a:pPr marL="342900" lvl="1" indent="-228600" algn="just" rtl="1">
              <a:lnSpc>
                <a:spcPct val="110000"/>
              </a:lnSpc>
              <a:spcBef>
                <a:spcPts val="1200"/>
              </a:spcBef>
              <a:buSzPct val="110000"/>
              <a:buFont typeface="Wingdings"/>
              <a:buChar char="§"/>
              <a:defRPr/>
            </a:pPr>
            <a:r>
              <a:rPr lang="fa-IR" sz="2000" kern="0" dirty="0" smtClean="0">
                <a:cs typeface="B Nazanin" pitchFamily="2" charset="-78"/>
              </a:rPr>
              <a:t>در اسلاید اول </a:t>
            </a:r>
            <a:r>
              <a:rPr lang="fa-IR" sz="2000" kern="0" dirty="0" err="1" smtClean="0">
                <a:cs typeface="B Nazanin" pitchFamily="2" charset="-78"/>
              </a:rPr>
              <a:t>تمپلیت</a:t>
            </a:r>
            <a:r>
              <a:rPr lang="fa-IR" sz="2000" kern="0" dirty="0" smtClean="0">
                <a:cs typeface="B Nazanin" pitchFamily="2" charset="-78"/>
              </a:rPr>
              <a:t> هر اقدام، درصد پیشرفت واقعی منتهی به ماه گزارش گیری و درصد پیشرفت برنامه ای منتهی به آن ماه (که در نمودار به صورت پیش فرض محاسبه و درج شده است) وارد می گردد. حاصل تقسیم درصد پیشرفت واقعی بر درصد پیشرفت برنامه ای در خانه "درصد تحقق برنامه" درج می گردد و رنگ پس زمینه آن خانه مطابق عدد حاصله و بازه های تعیین شده تغییر می یابد (سبز، زرد و قرمز).</a:t>
            </a:r>
          </a:p>
          <a:p>
            <a:pPr marL="342900" lvl="1" indent="-228600" algn="just" rtl="1">
              <a:lnSpc>
                <a:spcPct val="110000"/>
              </a:lnSpc>
              <a:spcBef>
                <a:spcPts val="1200"/>
              </a:spcBef>
              <a:buSzPct val="110000"/>
              <a:buFont typeface="Wingdings"/>
              <a:buChar char="§"/>
              <a:defRPr/>
            </a:pPr>
            <a:r>
              <a:rPr lang="fa-IR" sz="2000" kern="0" dirty="0">
                <a:cs typeface="B Nazanin" pitchFamily="2" charset="-78"/>
              </a:rPr>
              <a:t>جهت به روز رسانی نمودار کافیست </a:t>
            </a:r>
            <a:r>
              <a:rPr lang="fa-IR" sz="2000" kern="0" dirty="0" smtClean="0">
                <a:cs typeface="B Nazanin" pitchFamily="2" charset="-78"/>
              </a:rPr>
              <a:t>روی </a:t>
            </a:r>
            <a:r>
              <a:rPr lang="fa-IR" sz="2000" kern="0" dirty="0">
                <a:cs typeface="B Nazanin" pitchFamily="2" charset="-78"/>
              </a:rPr>
              <a:t>نمودار </a:t>
            </a:r>
            <a:r>
              <a:rPr lang="fa-IR" sz="2000" kern="0" dirty="0" smtClean="0">
                <a:cs typeface="B Nazanin" pitchFamily="2" charset="-78"/>
              </a:rPr>
              <a:t>راست </a:t>
            </a:r>
            <a:r>
              <a:rPr lang="fa-IR" sz="2000" kern="0" dirty="0">
                <a:cs typeface="B Nazanin" pitchFamily="2" charset="-78"/>
              </a:rPr>
              <a:t>کلیک کرده و </a:t>
            </a:r>
            <a:r>
              <a:rPr lang="fa-IR" sz="2000" kern="0" dirty="0" smtClean="0">
                <a:cs typeface="B Nazanin" pitchFamily="2" charset="-78"/>
              </a:rPr>
              <a:t>گزینه</a:t>
            </a:r>
            <a:r>
              <a:rPr lang="en-US" sz="1800" kern="0" dirty="0" smtClean="0">
                <a:cs typeface="B Nazanin" pitchFamily="2" charset="-78"/>
              </a:rPr>
              <a:t>Edit </a:t>
            </a:r>
            <a:r>
              <a:rPr lang="en-US" sz="1800" kern="0" dirty="0">
                <a:cs typeface="B Nazanin" pitchFamily="2" charset="-78"/>
              </a:rPr>
              <a:t>data </a:t>
            </a:r>
            <a:r>
              <a:rPr lang="fa-IR" sz="1800" kern="0" dirty="0" smtClean="0">
                <a:cs typeface="B Nazanin" pitchFamily="2" charset="-78"/>
              </a:rPr>
              <a:t> </a:t>
            </a:r>
            <a:r>
              <a:rPr lang="fa-IR" sz="2000" kern="0" dirty="0" smtClean="0">
                <a:cs typeface="B Nazanin" pitchFamily="2" charset="-78"/>
              </a:rPr>
              <a:t>و </a:t>
            </a:r>
            <a:r>
              <a:rPr lang="fa-IR" sz="2000" kern="0" dirty="0">
                <a:cs typeface="B Nazanin" pitchFamily="2" charset="-78"/>
              </a:rPr>
              <a:t>سپس</a:t>
            </a:r>
            <a:r>
              <a:rPr lang="en-US" sz="1800" kern="0" dirty="0">
                <a:cs typeface="B Nazanin" pitchFamily="2" charset="-78"/>
              </a:rPr>
              <a:t>Edit Data in Excel</a:t>
            </a:r>
            <a:r>
              <a:rPr lang="en-US" sz="2000" kern="0" dirty="0">
                <a:cs typeface="B Nazanin" pitchFamily="2" charset="-78"/>
              </a:rPr>
              <a:t> </a:t>
            </a:r>
            <a:r>
              <a:rPr lang="fa-IR" sz="2000" kern="0" dirty="0" smtClean="0">
                <a:cs typeface="B Nazanin" pitchFamily="2" charset="-78"/>
              </a:rPr>
              <a:t> را </a:t>
            </a:r>
            <a:r>
              <a:rPr lang="fa-IR" sz="2000" kern="0" dirty="0">
                <a:cs typeface="B Nazanin" pitchFamily="2" charset="-78"/>
              </a:rPr>
              <a:t>انتخاب </a:t>
            </a:r>
            <a:r>
              <a:rPr lang="fa-IR" sz="2000" kern="0" dirty="0" smtClean="0">
                <a:cs typeface="B Nazanin" pitchFamily="2" charset="-78"/>
              </a:rPr>
              <a:t>کنید کرده و در فایل </a:t>
            </a:r>
            <a:r>
              <a:rPr lang="fa-IR" sz="2000" kern="0" dirty="0" err="1" smtClean="0">
                <a:cs typeface="B Nazanin" pitchFamily="2" charset="-78"/>
              </a:rPr>
              <a:t>اکسلی</a:t>
            </a:r>
            <a:r>
              <a:rPr lang="fa-IR" sz="2000" kern="0" dirty="0" smtClean="0">
                <a:cs typeface="B Nazanin" pitchFamily="2" charset="-78"/>
              </a:rPr>
              <a:t> که باز می شود، درصد پیشرفت واقعی منتهی به آن ماه را در سلول مربوطه وارد نمایید تا نمودار به صورت خودکار به </a:t>
            </a:r>
            <a:r>
              <a:rPr lang="fa-IR" sz="2000" kern="0" dirty="0" err="1" smtClean="0">
                <a:cs typeface="B Nazanin" pitchFamily="2" charset="-78"/>
              </a:rPr>
              <a:t>روزرسانی</a:t>
            </a:r>
            <a:r>
              <a:rPr lang="fa-IR" sz="2000" kern="0" dirty="0" smtClean="0">
                <a:cs typeface="B Nazanin" pitchFamily="2" charset="-78"/>
              </a:rPr>
              <a:t> گردد. (به عنوان مثال اگر گزارش منتهی به </a:t>
            </a:r>
            <a:br>
              <a:rPr lang="fa-IR" sz="2000" kern="0" dirty="0" smtClean="0">
                <a:cs typeface="B Nazanin" pitchFamily="2" charset="-78"/>
              </a:rPr>
            </a:br>
            <a:r>
              <a:rPr lang="fa-IR" sz="2000" kern="0" dirty="0" smtClean="0">
                <a:cs typeface="B Nazanin" pitchFamily="2" charset="-78"/>
              </a:rPr>
              <a:t>آبان ماه را وارد می نمایید می بایست در سطر 8-97، درصد پیشرفت واقعی را درج کنید.) دقت نمایید که هدف برنامه ریزی شده بر اساس فرم های شناسنامه اقدامات استراتژیک از قبل محاسبه و در ستون مربوطه درج گردیده و </a:t>
            </a:r>
            <a:r>
              <a:rPr lang="fa-IR" sz="2000" kern="0" dirty="0" err="1" smtClean="0">
                <a:cs typeface="B Nazanin" pitchFamily="2" charset="-78"/>
              </a:rPr>
              <a:t>نمی</a:t>
            </a:r>
            <a:r>
              <a:rPr lang="fa-IR" sz="2000" kern="0" dirty="0" smtClean="0">
                <a:cs typeface="B Nazanin" pitchFamily="2" charset="-78"/>
              </a:rPr>
              <a:t> بایست آنرا تغییر دهید.</a:t>
            </a:r>
            <a:endParaRPr lang="fa-IR" sz="2000" kern="0" dirty="0">
              <a:cs typeface="B Nazanin" pitchFamily="2" charset="-78"/>
            </a:endParaRPr>
          </a:p>
          <a:p>
            <a:pPr marL="342900" lvl="1" indent="-228600" algn="just" rtl="1">
              <a:lnSpc>
                <a:spcPct val="110000"/>
              </a:lnSpc>
              <a:spcBef>
                <a:spcPts val="1200"/>
              </a:spcBef>
              <a:buSzPct val="110000"/>
              <a:buFont typeface="Wingdings"/>
              <a:buChar char="§"/>
              <a:defRPr/>
            </a:pPr>
            <a:endParaRPr lang="fa-IR" sz="2000" kern="0" dirty="0" smtClean="0">
              <a:cs typeface="B Nazanin" pitchFamily="2" charset="-78"/>
            </a:endParaRPr>
          </a:p>
          <a:p>
            <a:pPr marL="342900" lvl="1" indent="-228600" algn="just" rtl="1">
              <a:lnSpc>
                <a:spcPct val="110000"/>
              </a:lnSpc>
              <a:spcBef>
                <a:spcPts val="1200"/>
              </a:spcBef>
              <a:buSzPct val="110000"/>
              <a:buFont typeface="Wingdings"/>
              <a:buChar char="§"/>
              <a:defRPr/>
            </a:pPr>
            <a:r>
              <a:rPr lang="fa-IR" sz="2000" kern="0" dirty="0" smtClean="0">
                <a:solidFill>
                  <a:srgbClr val="C0504D"/>
                </a:solidFill>
                <a:cs typeface="B Nazanin" pitchFamily="2" charset="-78"/>
              </a:rPr>
              <a:t>تدوین </a:t>
            </a:r>
            <a:r>
              <a:rPr lang="fa-IR" sz="2000" kern="0" dirty="0">
                <a:solidFill>
                  <a:srgbClr val="C0504D"/>
                </a:solidFill>
                <a:cs typeface="B Nazanin" pitchFamily="2" charset="-78"/>
              </a:rPr>
              <a:t>و جاری سازی نظام ارزیابی تامین </a:t>
            </a:r>
            <a:r>
              <a:rPr lang="fa-IR" sz="2000" kern="0" dirty="0" err="1">
                <a:solidFill>
                  <a:srgbClr val="C0504D"/>
                </a:solidFill>
                <a:cs typeface="B Nazanin" pitchFamily="2" charset="-78"/>
              </a:rPr>
              <a:t>کنندگان</a:t>
            </a:r>
            <a:r>
              <a:rPr lang="fa-IR" sz="2000" kern="0" dirty="0">
                <a:solidFill>
                  <a:srgbClr val="C0504D"/>
                </a:solidFill>
                <a:cs typeface="B Nazanin" pitchFamily="2" charset="-78"/>
              </a:rPr>
              <a:t> و ایجاد بانک اطلاعاتی تأمین </a:t>
            </a:r>
            <a:r>
              <a:rPr lang="fa-IR" sz="2000" kern="0" dirty="0" err="1">
                <a:solidFill>
                  <a:srgbClr val="C0504D"/>
                </a:solidFill>
                <a:cs typeface="B Nazanin" pitchFamily="2" charset="-78"/>
              </a:rPr>
              <a:t>کنندگان</a:t>
            </a:r>
            <a:endParaRPr lang="fa-IR" sz="2000" kern="0" dirty="0" smtClean="0">
              <a:solidFill>
                <a:srgbClr val="C0504D"/>
              </a:solidFill>
              <a:cs typeface="B Nazanin" pitchFamily="2" charset="-78"/>
            </a:endParaRPr>
          </a:p>
          <a:p>
            <a:pPr marL="342900" lvl="1" indent="-228600" algn="just" rtl="1">
              <a:lnSpc>
                <a:spcPct val="110000"/>
              </a:lnSpc>
              <a:spcBef>
                <a:spcPts val="1200"/>
              </a:spcBef>
              <a:buSzPct val="110000"/>
              <a:buFont typeface="Wingdings"/>
              <a:buChar char="§"/>
              <a:defRPr/>
            </a:pPr>
            <a:r>
              <a:rPr lang="fa-IR" sz="2000" kern="0" dirty="0">
                <a:cs typeface="B Nazanin" pitchFamily="2" charset="-78"/>
              </a:rPr>
              <a:t>مطالعات امکان سنجی فنی استفاده از ناوگان حمل و نقل </a:t>
            </a:r>
            <a:r>
              <a:rPr lang="fa-IR" sz="2000" kern="0" dirty="0" smtClean="0">
                <a:cs typeface="B Nazanin" pitchFamily="2" charset="-78"/>
              </a:rPr>
              <a:t>ریلی</a:t>
            </a:r>
          </a:p>
          <a:p>
            <a:pPr marL="342900" lvl="1" indent="-228600" algn="just" rtl="1">
              <a:lnSpc>
                <a:spcPct val="110000"/>
              </a:lnSpc>
              <a:spcBef>
                <a:spcPts val="1200"/>
              </a:spcBef>
              <a:buSzPct val="110000"/>
              <a:buFont typeface="Wingdings"/>
              <a:buChar char="§"/>
              <a:defRPr/>
            </a:pPr>
            <a:r>
              <a:rPr lang="fa-IR" sz="2000" kern="0" dirty="0">
                <a:cs typeface="B Nazanin" pitchFamily="2" charset="-78"/>
              </a:rPr>
              <a:t>طراحی نظام اعتبارسنجی پیمانکاران حمل ونقل زمینی فله</a:t>
            </a:r>
          </a:p>
          <a:p>
            <a:pPr marL="342900" lvl="1" indent="-228600" algn="just" rtl="1">
              <a:lnSpc>
                <a:spcPct val="110000"/>
              </a:lnSpc>
              <a:spcBef>
                <a:spcPts val="1200"/>
              </a:spcBef>
              <a:buSzPct val="110000"/>
              <a:buFont typeface="Wingdings"/>
              <a:buChar char="§"/>
              <a:defRPr/>
            </a:pPr>
            <a:r>
              <a:rPr lang="fa-IR" sz="2000" kern="0" dirty="0">
                <a:cs typeface="B Nazanin" pitchFamily="2" charset="-78"/>
              </a:rPr>
              <a:t>مطالعه و انتخاب بازارهای هدف خارجی برای سطوح مختلف مشتریان و طراحی مدل شراکت با مشتریان در ارائه خدمات </a:t>
            </a:r>
            <a:r>
              <a:rPr lang="fa-IR" sz="2000" kern="0" dirty="0" smtClean="0">
                <a:cs typeface="B Nazanin" pitchFamily="2" charset="-78"/>
              </a:rPr>
              <a:t>جامع</a:t>
            </a:r>
          </a:p>
          <a:p>
            <a:pPr marL="342900" lvl="1" indent="-228600" algn="just" rtl="1">
              <a:lnSpc>
                <a:spcPct val="110000"/>
              </a:lnSpc>
              <a:spcBef>
                <a:spcPts val="1200"/>
              </a:spcBef>
              <a:buSzPct val="110000"/>
              <a:buFont typeface="Wingdings"/>
              <a:buChar char="§"/>
              <a:defRPr/>
            </a:pPr>
            <a:r>
              <a:rPr lang="fa-IR" sz="2000" kern="0" dirty="0">
                <a:cs typeface="B Nazanin" pitchFamily="2" charset="-78"/>
              </a:rPr>
              <a:t>طراحی و توسعه نظام </a:t>
            </a:r>
            <a:r>
              <a:rPr lang="fa-IR" sz="2000" kern="0" dirty="0" err="1">
                <a:cs typeface="B Nazanin" pitchFamily="2" charset="-78"/>
              </a:rPr>
              <a:t>اعتبارسنجی</a:t>
            </a:r>
            <a:r>
              <a:rPr lang="fa-IR" sz="2000" kern="0" dirty="0">
                <a:cs typeface="B Nazanin" pitchFamily="2" charset="-78"/>
              </a:rPr>
              <a:t> </a:t>
            </a:r>
            <a:r>
              <a:rPr lang="fa-IR" sz="2000" kern="0" dirty="0" smtClean="0">
                <a:cs typeface="B Nazanin" pitchFamily="2" charset="-78"/>
              </a:rPr>
              <a:t>مشتریان</a:t>
            </a:r>
          </a:p>
          <a:p>
            <a:pPr marL="342900" lvl="1" indent="-228600" algn="just" rtl="1">
              <a:lnSpc>
                <a:spcPct val="110000"/>
              </a:lnSpc>
              <a:spcBef>
                <a:spcPts val="1200"/>
              </a:spcBef>
              <a:buSzPct val="110000"/>
              <a:buFont typeface="Wingdings"/>
              <a:buChar char="§"/>
              <a:defRPr/>
            </a:pPr>
            <a:r>
              <a:rPr lang="fa-IR" sz="2000" kern="0" dirty="0">
                <a:cs typeface="B Nazanin" pitchFamily="2" charset="-78"/>
              </a:rPr>
              <a:t>شناسایی و مطالعه استانداردها و الزامات بازارهای هدف جهت توسعه محصولات و بسته بندی منطبق با این استانداردها</a:t>
            </a:r>
            <a:endParaRPr lang="fa-IR" sz="2000" kern="0" dirty="0" smtClean="0">
              <a:cs typeface="B Nazanin" pitchFamily="2" charset="-78"/>
            </a:endParaRPr>
          </a:p>
          <a:p>
            <a:pPr marL="342900" lvl="1" indent="-228600" algn="just" rtl="1">
              <a:lnSpc>
                <a:spcPct val="110000"/>
              </a:lnSpc>
              <a:spcBef>
                <a:spcPts val="1200"/>
              </a:spcBef>
              <a:buSzPct val="110000"/>
              <a:buFont typeface="Wingdings"/>
              <a:buChar char="§"/>
              <a:defRPr/>
            </a:pPr>
            <a:r>
              <a:rPr lang="fa-IR" sz="2000" kern="0" dirty="0">
                <a:cs typeface="B Nazanin" pitchFamily="2" charset="-78"/>
              </a:rPr>
              <a:t>بررسی و بازنگری آیین نامه فروش</a:t>
            </a:r>
          </a:p>
          <a:p>
            <a:pPr marL="342900" lvl="1" indent="-228600" algn="r" rtl="1">
              <a:lnSpc>
                <a:spcPct val="110000"/>
              </a:lnSpc>
              <a:spcBef>
                <a:spcPts val="1200"/>
              </a:spcBef>
              <a:buSzPct val="110000"/>
              <a:buFont typeface="Wingdings"/>
              <a:buChar char="§"/>
              <a:defRPr/>
            </a:pPr>
            <a:endParaRPr lang="fa-IR" sz="2000" b="1" kern="0" dirty="0">
              <a:cs typeface="B Nazanin" pitchFamily="2" charset="-78"/>
            </a:endParaRPr>
          </a:p>
          <a:p>
            <a:pPr marL="342900" lvl="1" indent="-228600" algn="r" rtl="1">
              <a:lnSpc>
                <a:spcPct val="110000"/>
              </a:lnSpc>
              <a:spcBef>
                <a:spcPts val="1200"/>
              </a:spcBef>
              <a:buSzPct val="110000"/>
              <a:buFont typeface="Wingdings"/>
              <a:buChar char="§"/>
              <a:defRPr/>
            </a:pPr>
            <a:endParaRPr lang="en-US" sz="2000" b="1" kern="0" dirty="0" smtClean="0">
              <a:cs typeface="B Nazanin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859402752"/>
      </p:ext>
    </p:extLst>
  </p:cSld>
  <p:clrMapOvr>
    <a:masterClrMapping/>
  </p:clrMapOvr>
  <p:transition>
    <p:wipe dir="d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09" name="Picture 1" descr="C:\Documents and Settings\Khanbabaie_F\Desktop\16915464-breaking-trend-with-five-why-methodology-modern-six-sigma-concept copy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8512" y="471180"/>
            <a:ext cx="2237447" cy="118653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819624" y="1692165"/>
          <a:ext cx="8654576" cy="4708635"/>
        </p:xfrm>
        <a:graphic>
          <a:graphicData uri="http://schemas.openxmlformats.org/drawingml/2006/table">
            <a:tbl>
              <a:tblPr rtl="1"/>
              <a:tblGrid>
                <a:gridCol w="86545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205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6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حلیل ریشه ای انحراف اجرای اقدام</a:t>
                      </a:r>
                      <a:r>
                        <a:rPr lang="fa-IR" sz="16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ز برنامه</a:t>
                      </a:r>
                      <a:endParaRPr lang="fa-IR" sz="16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1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2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3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4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5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405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6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چالش های اصلی اجرای اقدام</a:t>
                      </a:r>
                      <a:r>
                        <a:rPr lang="fa-IR" sz="16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ستراتژیک</a:t>
                      </a:r>
                      <a:endParaRPr lang="fa-IR" sz="16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435803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1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4544636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2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1111933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3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4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5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/>
              <a:t>وضعیت اجرای اقدام استراتژیک</a:t>
            </a:r>
          </a:p>
        </p:txBody>
      </p:sp>
      <p:sp>
        <p:nvSpPr>
          <p:cNvPr id="10" name="Rounded Rectangle 9"/>
          <p:cNvSpPr/>
          <p:nvPr/>
        </p:nvSpPr>
        <p:spPr bwMode="auto">
          <a:xfrm>
            <a:off x="4114800" y="910774"/>
            <a:ext cx="5359400" cy="432000"/>
          </a:xfrm>
          <a:prstGeom prst="roundRect">
            <a:avLst>
              <a:gd name="adj" fmla="val 50000"/>
            </a:avLst>
          </a:prstGeom>
          <a:solidFill>
            <a:srgbClr val="33CCFF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Title 15"/>
          <p:cNvSpPr txBox="1">
            <a:spLocks/>
          </p:cNvSpPr>
          <p:nvPr/>
        </p:nvSpPr>
        <p:spPr bwMode="auto">
          <a:xfrm>
            <a:off x="4167266" y="909863"/>
            <a:ext cx="4587802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r" rtl="1">
              <a:spcBef>
                <a:spcPct val="0"/>
              </a:spcBef>
              <a:defRPr/>
            </a:pPr>
            <a:r>
              <a:rPr lang="fa-IR" sz="2000" b="1" kern="0" spc="-30" dirty="0" smtClean="0">
                <a:solidFill>
                  <a:schemeClr val="bg1"/>
                </a:solidFill>
                <a:latin typeface="+mj-lt"/>
                <a:ea typeface="+mj-ea"/>
                <a:cs typeface="B Nazanin" pitchFamily="2" charset="-78"/>
              </a:rPr>
              <a:t>تحلیل روند اجرای اقدام استراتژیک</a:t>
            </a:r>
          </a:p>
        </p:txBody>
      </p:sp>
      <p:pic>
        <p:nvPicPr>
          <p:cNvPr id="14" name="Picture 13" descr="Trend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820148" y="793748"/>
            <a:ext cx="666000" cy="66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255277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47649" y="1455678"/>
            <a:ext cx="9401175" cy="794038"/>
          </a:xfrm>
        </p:spPr>
        <p:txBody>
          <a:bodyPr/>
          <a:lstStyle/>
          <a:p>
            <a:r>
              <a:rPr lang="fa-IR" dirty="0"/>
              <a:t>انجام مطالعات آماری و داده کاوی به منظور </a:t>
            </a:r>
            <a:r>
              <a:rPr lang="fa-IR" dirty="0" err="1"/>
              <a:t>مدلسازی</a:t>
            </a:r>
            <a:r>
              <a:rPr lang="fa-IR" dirty="0"/>
              <a:t> </a:t>
            </a:r>
            <a:r>
              <a:rPr lang="fa-IR" dirty="0" smtClean="0"/>
              <a:t>و</a:t>
            </a:r>
            <a:br>
              <a:rPr lang="fa-IR" dirty="0" smtClean="0"/>
            </a:br>
            <a:r>
              <a:rPr lang="fa-IR" dirty="0" smtClean="0"/>
              <a:t> </a:t>
            </a:r>
            <a:r>
              <a:rPr lang="fa-IR" dirty="0"/>
              <a:t>پیش بینی رفتار فرآیند تولید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930550" y="2718563"/>
            <a:ext cx="3653350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fa-IR" sz="2000" b="1" dirty="0" smtClean="0">
                <a:solidFill>
                  <a:schemeClr val="accent5">
                    <a:lumMod val="25000"/>
                  </a:schemeClr>
                </a:solidFill>
                <a:cs typeface="B Nazanin" panose="00000400000000000000" pitchFamily="2" charset="-78"/>
              </a:rPr>
              <a:t>منتهی به </a:t>
            </a:r>
            <a:r>
              <a:rPr lang="fa-IR" sz="2000" b="1" dirty="0">
                <a:solidFill>
                  <a:schemeClr val="accent5">
                    <a:lumMod val="25000"/>
                  </a:schemeClr>
                </a:solidFill>
                <a:cs typeface="B Nazanin" panose="00000400000000000000" pitchFamily="2" charset="-78"/>
              </a:rPr>
              <a:t>آذر </a:t>
            </a:r>
            <a:r>
              <a:rPr lang="fa-IR" sz="2000" b="1" dirty="0" smtClean="0">
                <a:solidFill>
                  <a:schemeClr val="accent5">
                    <a:lumMod val="25000"/>
                  </a:schemeClr>
                </a:solidFill>
                <a:cs typeface="B Nazanin" panose="00000400000000000000" pitchFamily="2" charset="-78"/>
              </a:rPr>
              <a:t>ماه سال 1397</a:t>
            </a:r>
            <a:endParaRPr lang="fa-IR" sz="2000" b="1" dirty="0">
              <a:solidFill>
                <a:schemeClr val="accent5">
                  <a:lumMod val="25000"/>
                </a:schemeClr>
              </a:solidFill>
              <a:cs typeface="B Nazanin" panose="00000400000000000000" pitchFamily="2" charset="-78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747825" y="5461763"/>
            <a:ext cx="2510350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2800" spc="-40" dirty="0" smtClean="0">
                <a:solidFill>
                  <a:srgbClr val="338E89"/>
                </a:solidFill>
                <a:cs typeface="B Nazanin" panose="00000400000000000000" pitchFamily="2" charset="-78"/>
              </a:rPr>
              <a:t>SP97-06-07</a:t>
            </a:r>
            <a:endParaRPr lang="en-US" sz="2800" spc="-40" dirty="0">
              <a:solidFill>
                <a:srgbClr val="338E89"/>
              </a:solidFill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4267763068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le 14"/>
          <p:cNvGraphicFramePr>
            <a:graphicFrameLocks noGrp="1"/>
          </p:cNvGraphicFramePr>
          <p:nvPr>
            <p:extLst/>
          </p:nvPr>
        </p:nvGraphicFramePr>
        <p:xfrm>
          <a:off x="614366" y="4129641"/>
          <a:ext cx="4265170" cy="2293200"/>
        </p:xfrm>
        <a:graphic>
          <a:graphicData uri="http://schemas.openxmlformats.org/drawingml/2006/table">
            <a:tbl>
              <a:tblPr rtl="1"/>
              <a:tblGrid>
                <a:gridCol w="42651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4400">
                <a:tc>
                  <a:txBody>
                    <a:bodyPr/>
                    <a:lstStyle/>
                    <a:p>
                      <a:pPr algn="ctr" rtl="1" fontAlgn="ctr">
                        <a:lnSpc>
                          <a:spcPct val="110000"/>
                        </a:lnSpc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روند پیشرفت </a:t>
                      </a:r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جمیعی</a:t>
                      </a:r>
                      <a:r>
                        <a:rPr lang="fa-IR" sz="14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قدام استراتژیک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18800">
                <a:tc>
                  <a:txBody>
                    <a:bodyPr/>
                    <a:lstStyle/>
                    <a:p>
                      <a:pPr marL="57150" indent="0" algn="r" rtl="1" fontAlgn="ctr">
                        <a:lnSpc>
                          <a:spcPct val="110000"/>
                        </a:lnSpc>
                        <a:buFont typeface="Arial" pitchFamily="34" charset="0"/>
                        <a:buNone/>
                      </a:pPr>
                      <a:endParaRPr lang="fa-IR" sz="2200" b="1" i="0" u="none" strike="noStrike" dirty="0" smtClean="0">
                        <a:solidFill>
                          <a:schemeClr val="tx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5362041"/>
              </p:ext>
            </p:extLst>
          </p:nvPr>
        </p:nvGraphicFramePr>
        <p:xfrm>
          <a:off x="4954137" y="1523999"/>
          <a:ext cx="4263102" cy="2540322"/>
        </p:xfrm>
        <a:graphic>
          <a:graphicData uri="http://schemas.openxmlformats.org/drawingml/2006/table">
            <a:tbl>
              <a:tblPr rtl="1"/>
              <a:tblGrid>
                <a:gridCol w="21340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90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136322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نام اقدام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>
                        <a:lnSpc>
                          <a:spcPct val="100000"/>
                        </a:lnSpc>
                      </a:pPr>
                      <a:r>
                        <a:rPr lang="fa-IR" sz="1500" b="0" i="0" u="none" strike="noStrike" kern="1200" dirty="0" smtClean="0">
                          <a:solidFill>
                            <a:schemeClr val="tx1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انجام مطالعات آماری و داده کاوی به منظور </a:t>
                      </a:r>
                      <a:r>
                        <a:rPr lang="fa-IR" sz="1500" b="0" i="0" u="none" strike="noStrike" kern="1200" dirty="0" err="1" smtClean="0">
                          <a:solidFill>
                            <a:schemeClr val="tx1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مدلسازی</a:t>
                      </a:r>
                      <a:r>
                        <a:rPr lang="fa-IR" sz="1500" b="0" i="0" u="none" strike="noStrike" kern="1200" dirty="0" smtClean="0">
                          <a:solidFill>
                            <a:schemeClr val="tx1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 و پیش بینی رفتار فرآیند تولید</a:t>
                      </a:r>
                      <a:endParaRPr lang="en-US" sz="1500" b="0" i="0" u="none" strike="noStrike" kern="1200" dirty="0">
                        <a:solidFill>
                          <a:schemeClr val="tx1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کد اقدام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3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B Nazanin" pitchFamily="2" charset="-78"/>
                        </a:rPr>
                        <a:t>SP97-06-07</a:t>
                      </a:r>
                      <a:endParaRPr lang="en-US" sz="13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هدف استراتژیک مرتبط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r>
                        <a:rPr lang="fa-IR" sz="13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B Nazanin" pitchFamily="2" charset="-78"/>
                        </a:rPr>
                        <a:t>نوآوری در تولید و ارائه خدمات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9219975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برنامه جامع استراتژیک مرتبط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a-IR" sz="15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B Nazanin"/>
                          <a:ea typeface="+mn-ea"/>
                          <a:cs typeface="B Nazanin" pitchFamily="2" charset="-78"/>
                        </a:rPr>
                        <a:t>نوآوری و بهبود در زنجیره عرضه</a:t>
                      </a:r>
                      <a:endParaRPr kumimoji="0" lang="en-US" sz="15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67128"/>
                  </a:ext>
                </a:extLst>
              </a:tr>
            </a:tbl>
          </a:graphicData>
        </a:graphic>
      </p:graphicFrame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5305615"/>
              </p:ext>
            </p:extLst>
          </p:nvPr>
        </p:nvGraphicFramePr>
        <p:xfrm>
          <a:off x="614366" y="1521396"/>
          <a:ext cx="4259961" cy="2544995"/>
        </p:xfrm>
        <a:graphic>
          <a:graphicData uri="http://schemas.openxmlformats.org/drawingml/2006/table">
            <a:tbl>
              <a:tblPr rtl="1"/>
              <a:tblGrid>
                <a:gridCol w="21309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90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4295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واحد متولی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مدیریت تحقیق و توسعه</a:t>
                      </a:r>
                      <a:endParaRPr lang="en-US" sz="15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295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نام متولی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0" i="0" u="none" strike="noStrike" kern="1200" dirty="0" err="1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الیاس</a:t>
                      </a:r>
                      <a:r>
                        <a:rPr lang="fa-IR" sz="15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 نیرومند</a:t>
                      </a:r>
                      <a:endParaRPr lang="en-US" sz="15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295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نام مجری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پیمان نهاوندی</a:t>
                      </a:r>
                      <a:endParaRPr lang="en-US" sz="15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7426199"/>
                  </a:ext>
                </a:extLst>
              </a:tr>
              <a:tr h="573520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یم همکار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علیرضا مختاری</a:t>
                      </a:r>
                      <a:endParaRPr lang="en-US" sz="15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909109"/>
                  </a:ext>
                </a:extLst>
              </a:tr>
              <a:tr h="39429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اريخ</a:t>
                      </a: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شروع (برنامه ای)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1500" b="0" i="0" u="none" strike="noStrike" dirty="0" smtClean="0">
                          <a:solidFill>
                            <a:schemeClr val="tx1"/>
                          </a:solidFill>
                          <a:latin typeface="B Nazanin"/>
                          <a:cs typeface="B Nazanin" pitchFamily="2" charset="-78"/>
                        </a:rPr>
                        <a:t>97/09/01</a:t>
                      </a:r>
                      <a:endParaRPr lang="en-US" sz="1500" b="0" i="0" u="none" strike="noStrike" dirty="0">
                        <a:solidFill>
                          <a:schemeClr val="tx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29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اريخ</a:t>
                      </a: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پایان (برنامه ای)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0" i="0" u="none" strike="noStrike" dirty="0" smtClean="0">
                          <a:solidFill>
                            <a:schemeClr val="tx1"/>
                          </a:solidFill>
                          <a:latin typeface="B Nazanin"/>
                          <a:cs typeface="B Nazanin" pitchFamily="2" charset="-78"/>
                        </a:rPr>
                        <a:t>98/09/0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 smtClean="0"/>
              <a:t>وضعیت اجرای اقدام استراتژیک</a:t>
            </a:r>
            <a:endParaRPr lang="fa-IR" dirty="0"/>
          </a:p>
        </p:txBody>
      </p:sp>
      <p:sp>
        <p:nvSpPr>
          <p:cNvPr id="23" name="Rounded Rectangle 22"/>
          <p:cNvSpPr/>
          <p:nvPr/>
        </p:nvSpPr>
        <p:spPr bwMode="auto">
          <a:xfrm>
            <a:off x="4114800" y="910774"/>
            <a:ext cx="5359400" cy="432000"/>
          </a:xfrm>
          <a:prstGeom prst="roundRect">
            <a:avLst>
              <a:gd name="adj" fmla="val 50000"/>
            </a:avLst>
          </a:prstGeom>
          <a:solidFill>
            <a:srgbClr val="C8666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endParaRPr lang="fa-IR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4" name="Title 15"/>
          <p:cNvSpPr txBox="1">
            <a:spLocks/>
          </p:cNvSpPr>
          <p:nvPr/>
        </p:nvSpPr>
        <p:spPr bwMode="auto">
          <a:xfrm>
            <a:off x="4167266" y="909863"/>
            <a:ext cx="4587802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rtl="1">
              <a:spcBef>
                <a:spcPct val="0"/>
              </a:spcBef>
              <a:defRPr/>
            </a:pPr>
            <a:r>
              <a:rPr lang="fa-IR" sz="2000" b="1" smtClean="0">
                <a:solidFill>
                  <a:srgbClr val="FFFFFF"/>
                </a:solidFill>
                <a:latin typeface="B Nazanin"/>
                <a:cs typeface="B Nazanin" pitchFamily="2" charset="-78"/>
              </a:rPr>
              <a:t>نماي كلي</a:t>
            </a:r>
            <a:endParaRPr lang="fa-IR" sz="2000" b="1" kern="0" spc="-30" smtClean="0">
              <a:solidFill>
                <a:srgbClr val="FFFFFF"/>
              </a:solidFill>
              <a:latin typeface="Arial"/>
              <a:cs typeface="B Nazanin" pitchFamily="2" charset="-78"/>
            </a:endParaRPr>
          </a:p>
        </p:txBody>
      </p:sp>
      <p:pic>
        <p:nvPicPr>
          <p:cNvPr id="26" name="Picture 25" descr="Magnifyer 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819446" y="792681"/>
            <a:ext cx="666000" cy="666000"/>
          </a:xfrm>
          <a:prstGeom prst="rect">
            <a:avLst/>
          </a:prstGeom>
        </p:spPr>
      </p:pic>
      <p:graphicFrame>
        <p:nvGraphicFramePr>
          <p:cNvPr id="43" name="Chart 42"/>
          <p:cNvGraphicFramePr/>
          <p:nvPr>
            <p:extLst>
              <p:ext uri="{D42A27DB-BD31-4B8C-83A1-F6EECF244321}">
                <p14:modId xmlns:p14="http://schemas.microsoft.com/office/powerpoint/2010/main" val="789650610"/>
              </p:ext>
            </p:extLst>
          </p:nvPr>
        </p:nvGraphicFramePr>
        <p:xfrm>
          <a:off x="631486" y="4533900"/>
          <a:ext cx="4197689" cy="18642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1768531"/>
              </p:ext>
            </p:extLst>
          </p:nvPr>
        </p:nvGraphicFramePr>
        <p:xfrm>
          <a:off x="4954137" y="4129640"/>
          <a:ext cx="4262566" cy="2293200"/>
        </p:xfrm>
        <a:graphic>
          <a:graphicData uri="http://schemas.openxmlformats.org/drawingml/2006/table">
            <a:tbl>
              <a:tblPr rtl="1"/>
              <a:tblGrid>
                <a:gridCol w="14208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20856">
                  <a:extLst>
                    <a:ext uri="{9D8B030D-6E8A-4147-A177-3AD203B41FA5}">
                      <a16:colId xmlns:a16="http://schemas.microsoft.com/office/drawing/2014/main" val="72834989"/>
                    </a:ext>
                  </a:extLst>
                </a:gridCol>
                <a:gridCol w="1420855">
                  <a:extLst>
                    <a:ext uri="{9D8B030D-6E8A-4147-A177-3AD203B41FA5}">
                      <a16:colId xmlns:a16="http://schemas.microsoft.com/office/drawing/2014/main" val="639004351"/>
                    </a:ext>
                  </a:extLst>
                </a:gridCol>
              </a:tblGrid>
              <a:tr h="450352">
                <a:tc gridSpan="3"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وضعیت پیشرفت</a:t>
                      </a:r>
                      <a:r>
                        <a:rPr lang="fa-IR" sz="14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قدام استراتژیک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0179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100% الی 95%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95% الی 85%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66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85% الی 0%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4223">
                <a:tc gridSpan="2"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درصد پیشرفت </a:t>
                      </a:r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جمیعی</a:t>
                      </a: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برنامه</a:t>
                      </a:r>
                      <a:r>
                        <a:rPr lang="fa-IR" sz="14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ی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r>
                        <a:rPr lang="fa-IR" sz="1600" b="1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85%</a:t>
                      </a:r>
                      <a:endParaRPr lang="en-US" sz="1600" b="1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4223">
                <a:tc gridSpan="2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درصد پیشرفت </a:t>
                      </a:r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جمیعی</a:t>
                      </a: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واقعی</a:t>
                      </a: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r>
                        <a:rPr lang="fa-IR" sz="1600" b="1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85%</a:t>
                      </a:r>
                      <a:endParaRPr lang="en-US" sz="1600" b="1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2422588"/>
                  </a:ext>
                </a:extLst>
              </a:tr>
              <a:tr h="474223">
                <a:tc gridSpan="2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درصد</a:t>
                      </a:r>
                      <a:r>
                        <a:rPr lang="fa-IR" sz="14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تحقق برنامه</a:t>
                      </a:r>
                    </a:p>
                    <a:p>
                      <a:pPr marL="0" marR="0" lvl="0" indent="0" algn="ctr" defTabSz="914400" rtl="1" eaLnBrk="1" fontAlgn="ctr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100" b="1" i="0" u="none" strike="noStrike" spc="0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(پیشرفت واقعی تقسیم بر پیشرفت برنامه ای)</a:t>
                      </a: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r>
                        <a:rPr lang="fa-IR" sz="1600" b="1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100%</a:t>
                      </a:r>
                      <a:endParaRPr lang="en-US" sz="1600" b="1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0925430"/>
                  </a:ext>
                </a:extLst>
              </a:tr>
            </a:tbl>
          </a:graphicData>
        </a:graphic>
      </p:graphicFrame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39034388"/>
              </p:ext>
            </p:extLst>
          </p:nvPr>
        </p:nvGraphicFramePr>
        <p:xfrm>
          <a:off x="443343" y="933504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4" name="Worksheet" showAsIcon="1" r:id="rId5" imgW="914400" imgH="771480" progId="Excel.Sheet.12">
                  <p:embed/>
                </p:oleObj>
              </mc:Choice>
              <mc:Fallback>
                <p:oleObj name="Worksheet" showAsIcon="1" r:id="rId5" imgW="914400" imgH="771480" progId="Excel.Sheet.12">
                  <p:embed/>
                  <p:pic>
                    <p:nvPicPr>
                      <p:cNvPr id="0" name="Picture 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3343" y="933504"/>
                        <a:ext cx="914400" cy="7715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64058077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ounded Rectangle 18"/>
          <p:cNvSpPr/>
          <p:nvPr/>
        </p:nvSpPr>
        <p:spPr bwMode="auto">
          <a:xfrm>
            <a:off x="4114800" y="910774"/>
            <a:ext cx="5172075" cy="432000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Title 15"/>
          <p:cNvSpPr txBox="1">
            <a:spLocks/>
          </p:cNvSpPr>
          <p:nvPr/>
        </p:nvSpPr>
        <p:spPr bwMode="auto">
          <a:xfrm>
            <a:off x="4167266" y="909863"/>
            <a:ext cx="4587802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r" rtl="1">
              <a:spcBef>
                <a:spcPct val="0"/>
              </a:spcBef>
              <a:defRPr/>
            </a:pPr>
            <a:r>
              <a:rPr lang="fa-IR" sz="2000" b="1" kern="0" spc="-30" smtClean="0">
                <a:solidFill>
                  <a:schemeClr val="bg1"/>
                </a:solidFill>
                <a:latin typeface="+mj-lt"/>
                <a:ea typeface="+mj-ea"/>
                <a:cs typeface="B Nazanin" pitchFamily="2" charset="-78"/>
              </a:rPr>
              <a:t>نماي تفصيلي</a:t>
            </a:r>
          </a:p>
        </p:txBody>
      </p:sp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/>
              <a:t>وضعیت اجرای اقدام استراتژیک</a:t>
            </a:r>
          </a:p>
        </p:txBody>
      </p:sp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1895146"/>
              </p:ext>
            </p:extLst>
          </p:nvPr>
        </p:nvGraphicFramePr>
        <p:xfrm>
          <a:off x="230692" y="1626889"/>
          <a:ext cx="9438288" cy="3451954"/>
        </p:xfrm>
        <a:graphic>
          <a:graphicData uri="http://schemas.openxmlformats.org/drawingml/2006/table">
            <a:tbl>
              <a:tblPr rtl="1"/>
              <a:tblGrid>
                <a:gridCol w="4763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0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35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1761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53127">
                  <a:extLst>
                    <a:ext uri="{9D8B030D-6E8A-4147-A177-3AD203B41FA5}">
                      <a16:colId xmlns:a16="http://schemas.microsoft.com/office/drawing/2014/main" val="2813668953"/>
                    </a:ext>
                  </a:extLst>
                </a:gridCol>
                <a:gridCol w="2694281">
                  <a:extLst>
                    <a:ext uri="{9D8B030D-6E8A-4147-A177-3AD203B41FA5}">
                      <a16:colId xmlns:a16="http://schemas.microsoft.com/office/drawing/2014/main" val="1795941034"/>
                    </a:ext>
                  </a:extLst>
                </a:gridCol>
                <a:gridCol w="678662">
                  <a:extLst>
                    <a:ext uri="{9D8B030D-6E8A-4147-A177-3AD203B41FA5}">
                      <a16:colId xmlns:a16="http://schemas.microsoft.com/office/drawing/2014/main" val="250335139"/>
                    </a:ext>
                  </a:extLst>
                </a:gridCol>
                <a:gridCol w="67866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498884">
                <a:tc rowSpan="2"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رديف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70C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1" fontAlgn="ctr"/>
                      <a:r>
                        <a:rPr lang="fa-IR" sz="15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طرح اجرایی اقدام استراتژیک</a:t>
                      </a:r>
                      <a:endParaRPr lang="fa-IR" sz="15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1" fontAlgn="ctr"/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3E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1" fontAlgn="ctr"/>
                      <a:endParaRPr lang="fa-IR" sz="15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1"/>
                      <a:r>
                        <a:rPr lang="fa-IR" sz="15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ea typeface="+mn-ea"/>
                          <a:cs typeface="B Nazanin" pitchFamily="2" charset="-78"/>
                        </a:rPr>
                        <a:t>وضعیت اجرای اقدام استراتژیک</a:t>
                      </a:r>
                      <a:endParaRPr lang="fa-IR" sz="1500" b="1" i="0" u="none" strike="noStrike" kern="1200" dirty="0">
                        <a:solidFill>
                          <a:srgbClr val="FFFFFF"/>
                        </a:solidFill>
                        <a:effectLst/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884">
                <a:tc v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فعالیت های اصلی اقدام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درصد وزن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خروجی قابل تحویل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زمان تحویل</a:t>
                      </a:r>
                    </a:p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(برنامه ای)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خروجی تحویل شده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زمان تحویل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درصد تحقق فعالیت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effectLst/>
                          <a:latin typeface="B Nazanin"/>
                          <a:cs typeface="B Nazanin" pitchFamily="2" charset="-78"/>
                        </a:rPr>
                        <a:t>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مطالعات کتابخانه ای و الگوبرداری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5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خروجی ها و یافته های مطالعات و الگوبرداری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10/0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نتیجه مطالعات و الگوبرداری ها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10/01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5%</a:t>
                      </a:r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effectLst/>
                          <a:latin typeface="B Nazanin"/>
                          <a:cs typeface="B Nazanin" pitchFamily="2" charset="-78"/>
                        </a:rPr>
                        <a:t>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جمع آوری و آماده سازی داده ها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30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فهرست ورودی های داده کاوی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12/2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ورودی های داده کاوی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10/15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30%</a:t>
                      </a:r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effectLst/>
                          <a:latin typeface="B Nazanin"/>
                          <a:cs typeface="B Nazanin" pitchFamily="2" charset="-78"/>
                        </a:rPr>
                        <a:t>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تجزیه و تحلیل داده ها (داده کاوی)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50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گزارش داده کاوی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8/06/1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گزارش داده کاوی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97/12/15</a:t>
                      </a:r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50%</a:t>
                      </a:r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4</a:t>
                      </a:r>
                      <a:endParaRPr lang="fa-IR" sz="1300" b="1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راستی آزمایی مدل ها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5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گزارش راستی آزمایی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8/07/0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5</a:t>
                      </a:r>
                      <a:endParaRPr lang="fa-IR" sz="1300" b="1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جمع بندی و تهیه گزارش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10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گزارش نهایی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8/09/0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/>
                      <a:endParaRPr lang="fa-IR" sz="1500" dirty="0"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/>
                      <a:endParaRPr lang="fa-IR" sz="1500" dirty="0"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405720"/>
                  </a:ext>
                </a:extLst>
              </a:tr>
              <a:tr h="350975">
                <a:tc gridSpan="2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مجموع</a:t>
                      </a: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3E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100%</a:t>
                      </a: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500" b="0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500" b="0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1" fontAlgn="ctr"/>
                      <a:r>
                        <a:rPr lang="fa-IR" sz="15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مجموع</a:t>
                      </a: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rtl="1" fontAlgn="ctr"/>
                      <a:endParaRPr lang="fa-IR" sz="1500" b="0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0%</a:t>
                      </a: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256993"/>
                  </a:ext>
                </a:extLst>
              </a:tr>
            </a:tbl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0041" y="792681"/>
            <a:ext cx="664809" cy="66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999975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09" name="Picture 1" descr="C:\Documents and Settings\Khanbabaie_F\Desktop\16915464-breaking-trend-with-five-why-methodology-modern-six-sigma-concept copy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8512" y="471180"/>
            <a:ext cx="2237447" cy="118653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9426743"/>
              </p:ext>
            </p:extLst>
          </p:nvPr>
        </p:nvGraphicFramePr>
        <p:xfrm>
          <a:off x="819624" y="1692165"/>
          <a:ext cx="8654576" cy="4708635"/>
        </p:xfrm>
        <a:graphic>
          <a:graphicData uri="http://schemas.openxmlformats.org/drawingml/2006/table">
            <a:tbl>
              <a:tblPr rtl="1"/>
              <a:tblGrid>
                <a:gridCol w="86545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205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6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حلیل ریشه ای انحراف اجرای اقدام</a:t>
                      </a:r>
                      <a:r>
                        <a:rPr lang="fa-IR" sz="16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ز برنامه</a:t>
                      </a:r>
                      <a:endParaRPr lang="fa-IR" sz="16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1- </a:t>
                      </a:r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راستی آزمایی در مرحله تایید مدیرعامل جهت ابلاغ به واحد تولید همچنان متوقف</a:t>
                      </a:r>
                      <a:r>
                        <a:rPr lang="fa-IR" sz="1400" b="0" i="0" u="none" strike="noStrike" kern="1200" baseline="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 مانده است.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2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3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4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5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405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6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چالش های اصلی اجرای اقدام</a:t>
                      </a:r>
                      <a:r>
                        <a:rPr lang="fa-IR" sz="16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ستراتژیک</a:t>
                      </a:r>
                      <a:endParaRPr lang="fa-IR" sz="16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435803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1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4544636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2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1111933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3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4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5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/>
              <a:t>وضعیت اجرای اقدام استراتژیک</a:t>
            </a:r>
          </a:p>
        </p:txBody>
      </p:sp>
      <p:sp>
        <p:nvSpPr>
          <p:cNvPr id="10" name="Rounded Rectangle 9"/>
          <p:cNvSpPr/>
          <p:nvPr/>
        </p:nvSpPr>
        <p:spPr bwMode="auto">
          <a:xfrm>
            <a:off x="4114800" y="910774"/>
            <a:ext cx="5359400" cy="432000"/>
          </a:xfrm>
          <a:prstGeom prst="roundRect">
            <a:avLst>
              <a:gd name="adj" fmla="val 50000"/>
            </a:avLst>
          </a:prstGeom>
          <a:solidFill>
            <a:srgbClr val="33CCFF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Title 15"/>
          <p:cNvSpPr txBox="1">
            <a:spLocks/>
          </p:cNvSpPr>
          <p:nvPr/>
        </p:nvSpPr>
        <p:spPr bwMode="auto">
          <a:xfrm>
            <a:off x="4167266" y="909863"/>
            <a:ext cx="4587802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r" rtl="1">
              <a:spcBef>
                <a:spcPct val="0"/>
              </a:spcBef>
              <a:defRPr/>
            </a:pPr>
            <a:r>
              <a:rPr lang="fa-IR" sz="2000" b="1" kern="0" spc="-30" dirty="0" smtClean="0">
                <a:solidFill>
                  <a:schemeClr val="bg1"/>
                </a:solidFill>
                <a:latin typeface="+mj-lt"/>
                <a:ea typeface="+mj-ea"/>
                <a:cs typeface="B Nazanin" pitchFamily="2" charset="-78"/>
              </a:rPr>
              <a:t>تحلیل روند اجرای اقدام استراتژیک</a:t>
            </a:r>
          </a:p>
        </p:txBody>
      </p:sp>
      <p:pic>
        <p:nvPicPr>
          <p:cNvPr id="14" name="Picture 13" descr="Trend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820148" y="793748"/>
            <a:ext cx="666000" cy="66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5012158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47649" y="1455678"/>
            <a:ext cx="9401175" cy="794038"/>
          </a:xfrm>
        </p:spPr>
        <p:txBody>
          <a:bodyPr/>
          <a:lstStyle/>
          <a:p>
            <a:r>
              <a:rPr lang="fa-IR" dirty="0"/>
              <a:t>افزایش سهم بودجه فعالیت های تحقیق و توسعه در سبد کسب و کار </a:t>
            </a:r>
            <a:r>
              <a:rPr lang="fa-IR" dirty="0" smtClean="0"/>
              <a:t>شرکت</a:t>
            </a:r>
            <a:endParaRPr lang="fa-IR" dirty="0"/>
          </a:p>
        </p:txBody>
      </p:sp>
      <p:sp>
        <p:nvSpPr>
          <p:cNvPr id="4" name="TextBox 3"/>
          <p:cNvSpPr txBox="1"/>
          <p:nvPr/>
        </p:nvSpPr>
        <p:spPr>
          <a:xfrm>
            <a:off x="2930550" y="2718563"/>
            <a:ext cx="3653350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a-IR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AE2FF">
                    <a:lumMod val="2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B Nazanin" panose="00000400000000000000" pitchFamily="2" charset="-78"/>
              </a:rPr>
              <a:t>منتهی به </a:t>
            </a:r>
            <a:r>
              <a:rPr kumimoji="0" lang="fa-IR" sz="2000" b="1" i="0" u="none" strike="noStrike" kern="1200" cap="none" spc="0" normalizeH="0" baseline="0" noProof="0" dirty="0">
                <a:ln>
                  <a:noFill/>
                </a:ln>
                <a:solidFill>
                  <a:srgbClr val="CAE2FF">
                    <a:lumMod val="2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B Nazanin" panose="00000400000000000000" pitchFamily="2" charset="-78"/>
              </a:rPr>
              <a:t>آذر </a:t>
            </a:r>
            <a:r>
              <a:rPr kumimoji="0" lang="fa-IR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AE2FF">
                    <a:lumMod val="2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B Nazanin" panose="00000400000000000000" pitchFamily="2" charset="-78"/>
              </a:rPr>
              <a:t>ماه سال 1397</a:t>
            </a:r>
            <a:endParaRPr kumimoji="0" lang="fa-IR" sz="2000" b="1" i="0" u="none" strike="noStrike" kern="1200" cap="none" spc="0" normalizeH="0" baseline="0" noProof="0" dirty="0">
              <a:ln>
                <a:noFill/>
              </a:ln>
              <a:solidFill>
                <a:srgbClr val="CAE2FF">
                  <a:lumMod val="25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B Nazanin" panose="00000400000000000000" pitchFamily="2" charset="-78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747825" y="5461763"/>
            <a:ext cx="2510350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-40" normalizeH="0" baseline="0" noProof="0" dirty="0" smtClean="0">
                <a:ln>
                  <a:noFill/>
                </a:ln>
                <a:solidFill>
                  <a:srgbClr val="338E89"/>
                </a:solidFill>
                <a:effectLst/>
                <a:uLnTx/>
                <a:uFillTx/>
                <a:latin typeface="Arial" pitchFamily="34" charset="0"/>
                <a:ea typeface="+mn-ea"/>
                <a:cs typeface="B Nazanin" panose="00000400000000000000" pitchFamily="2" charset="-78"/>
              </a:rPr>
              <a:t>SP97-06-0</a:t>
            </a:r>
            <a:r>
              <a:rPr lang="en-US" sz="2800" spc="-40" dirty="0">
                <a:solidFill>
                  <a:srgbClr val="338E89"/>
                </a:solidFill>
                <a:cs typeface="B Nazanin" panose="00000400000000000000" pitchFamily="2" charset="-78"/>
              </a:rPr>
              <a:t>6</a:t>
            </a:r>
            <a:endParaRPr kumimoji="0" lang="en-US" sz="2800" b="0" i="0" u="none" strike="noStrike" kern="1200" cap="none" spc="-40" normalizeH="0" baseline="0" noProof="0" dirty="0">
              <a:ln>
                <a:noFill/>
              </a:ln>
              <a:solidFill>
                <a:srgbClr val="338E89"/>
              </a:solidFill>
              <a:effectLst/>
              <a:uLnTx/>
              <a:uFillTx/>
              <a:latin typeface="Arial" pitchFamily="34" charset="0"/>
              <a:ea typeface="+mn-ea"/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639181870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le 14"/>
          <p:cNvGraphicFramePr>
            <a:graphicFrameLocks noGrp="1"/>
          </p:cNvGraphicFramePr>
          <p:nvPr>
            <p:extLst/>
          </p:nvPr>
        </p:nvGraphicFramePr>
        <p:xfrm>
          <a:off x="1427860" y="3998271"/>
          <a:ext cx="3465451" cy="1863225"/>
        </p:xfrm>
        <a:graphic>
          <a:graphicData uri="http://schemas.openxmlformats.org/drawingml/2006/table">
            <a:tbl>
              <a:tblPr rtl="1"/>
              <a:tblGrid>
                <a:gridCol w="34654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04200">
                <a:tc>
                  <a:txBody>
                    <a:bodyPr/>
                    <a:lstStyle/>
                    <a:p>
                      <a:pPr algn="ctr" rtl="1" fontAlgn="ctr">
                        <a:lnSpc>
                          <a:spcPct val="110000"/>
                        </a:lnSpc>
                      </a:pPr>
                      <a:r>
                        <a:rPr lang="fa-IR" sz="11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روند پیشرفت </a:t>
                      </a:r>
                      <a:r>
                        <a:rPr lang="fa-IR" sz="11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جمیعی</a:t>
                      </a:r>
                      <a:r>
                        <a:rPr lang="fa-IR" sz="11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قدام استراتژیک</a:t>
                      </a:r>
                      <a:endParaRPr lang="fa-IR" sz="11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585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59025">
                <a:tc>
                  <a:txBody>
                    <a:bodyPr/>
                    <a:lstStyle/>
                    <a:p>
                      <a:pPr marL="57150" indent="0" algn="r" rtl="1" fontAlgn="ctr">
                        <a:lnSpc>
                          <a:spcPct val="110000"/>
                        </a:lnSpc>
                        <a:buFont typeface="Arial" pitchFamily="34" charset="0"/>
                        <a:buNone/>
                      </a:pPr>
                      <a:endParaRPr lang="fa-IR" sz="1800" b="1" i="0" u="none" strike="noStrike" dirty="0" smtClean="0">
                        <a:solidFill>
                          <a:schemeClr val="tx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585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/>
          </p:nvPr>
        </p:nvGraphicFramePr>
        <p:xfrm>
          <a:off x="4953924" y="1881187"/>
          <a:ext cx="3463770" cy="2064012"/>
        </p:xfrm>
        <a:graphic>
          <a:graphicData uri="http://schemas.openxmlformats.org/drawingml/2006/table">
            <a:tbl>
              <a:tblPr rtl="1"/>
              <a:tblGrid>
                <a:gridCol w="17339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298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923262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نام اقدام</a:t>
                      </a:r>
                      <a:endParaRPr lang="fa-IR" sz="11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>
                        <a:lnSpc>
                          <a:spcPct val="100000"/>
                        </a:lnSpc>
                      </a:pPr>
                      <a:r>
                        <a:rPr lang="fa-IR" sz="1200" b="0" i="0" u="none" strike="noStrike" kern="1200" dirty="0" smtClean="0">
                          <a:solidFill>
                            <a:schemeClr val="tx1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افزایش سهم بودجه فعالیت های تحقیق و توسعه در سبد کسب و کار شرکت</a:t>
                      </a:r>
                      <a:endParaRPr lang="en-US" sz="1200" b="0" i="0" u="none" strike="noStrike" kern="1200" dirty="0">
                        <a:solidFill>
                          <a:schemeClr val="tx1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175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کد اقدام</a:t>
                      </a:r>
                      <a:endParaRPr lang="fa-IR" sz="11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B Nazanin" pitchFamily="2" charset="-78"/>
                        </a:rPr>
                        <a:t>SP97-06-06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175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هدف استراتژیک مرتبط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r>
                        <a:rPr lang="fa-IR" sz="11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B Nazanin" pitchFamily="2" charset="-78"/>
                        </a:rPr>
                        <a:t>نوآوری در تولید و ارائه خدمات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9219975"/>
                  </a:ext>
                </a:extLst>
              </a:tr>
              <a:tr h="49725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برنامه جامع استراتژیک مرتبط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a-I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B Nazanin"/>
                          <a:ea typeface="+mn-ea"/>
                          <a:cs typeface="B Nazanin" pitchFamily="2" charset="-78"/>
                        </a:rPr>
                        <a:t>نوآوری و بهبود در زنجیره عرضه</a:t>
                      </a:r>
                      <a:endParaRPr kumimoji="0" lang="en-US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67128"/>
                  </a:ext>
                </a:extLst>
              </a:tr>
            </a:tbl>
          </a:graphicData>
        </a:graphic>
      </p:graphicFrame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9687808"/>
              </p:ext>
            </p:extLst>
          </p:nvPr>
        </p:nvGraphicFramePr>
        <p:xfrm>
          <a:off x="1427860" y="1879073"/>
          <a:ext cx="3461219" cy="2067810"/>
        </p:xfrm>
        <a:graphic>
          <a:graphicData uri="http://schemas.openxmlformats.org/drawingml/2006/table">
            <a:tbl>
              <a:tblPr rtl="1"/>
              <a:tblGrid>
                <a:gridCol w="17313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298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0365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1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واحد متولی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2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مدیریت طرح و برنامه و راهبرد</a:t>
                      </a: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0365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1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نام متولی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2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سید منصور رضویان</a:t>
                      </a: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0365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1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نام مجری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200" b="0" i="0" u="none" strike="noStrike" kern="1200" dirty="0" err="1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الیاس</a:t>
                      </a:r>
                      <a:r>
                        <a:rPr lang="fa-IR" sz="12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 نیرومند</a:t>
                      </a: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7426199"/>
                  </a:ext>
                </a:extLst>
              </a:tr>
              <a:tr h="465985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1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یم همکار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2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مدیرعامل و اعضای هیئت مدیره</a:t>
                      </a: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909109"/>
                  </a:ext>
                </a:extLst>
              </a:tr>
              <a:tr h="32036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اريخ</a:t>
                      </a:r>
                      <a:r>
                        <a:rPr lang="fa-IR" sz="11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شروع (برنامه ای)</a:t>
                      </a:r>
                      <a:endParaRPr lang="fa-IR" sz="11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200" b="0" i="0" u="none" strike="noStrike" dirty="0" smtClean="0">
                          <a:solidFill>
                            <a:schemeClr val="tx1"/>
                          </a:solidFill>
                          <a:latin typeface="B Nazanin"/>
                          <a:cs typeface="B Nazanin" pitchFamily="2" charset="-78"/>
                        </a:rPr>
                        <a:t>97/09/01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036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اريخ</a:t>
                      </a:r>
                      <a:r>
                        <a:rPr lang="fa-IR" sz="11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پایان (برنامه ای)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r>
                        <a:rPr lang="fa-IR" sz="1200" b="0" i="0" u="none" strike="noStrike" kern="1200" dirty="0" smtClean="0">
                          <a:solidFill>
                            <a:schemeClr val="tx1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98/01/01</a:t>
                      </a:r>
                      <a:endParaRPr lang="en-US" sz="1200" b="0" i="0" u="none" strike="noStrike" kern="1200" dirty="0">
                        <a:solidFill>
                          <a:schemeClr val="tx1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 smtClean="0"/>
              <a:t>وضعیت اجرای اقدام استراتژیک</a:t>
            </a:r>
            <a:endParaRPr lang="fa-IR" dirty="0"/>
          </a:p>
        </p:txBody>
      </p:sp>
      <p:sp>
        <p:nvSpPr>
          <p:cNvPr id="23" name="Rounded Rectangle 22"/>
          <p:cNvSpPr/>
          <p:nvPr/>
        </p:nvSpPr>
        <p:spPr bwMode="auto">
          <a:xfrm>
            <a:off x="4271962" y="1382941"/>
            <a:ext cx="4354513" cy="351000"/>
          </a:xfrm>
          <a:prstGeom prst="roundRect">
            <a:avLst>
              <a:gd name="adj" fmla="val 50000"/>
            </a:avLst>
          </a:prstGeom>
          <a:solidFill>
            <a:srgbClr val="C8666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7148" tIns="37148" rIns="37148" bIns="37148" numCol="1" rtl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35000"/>
              </a:spcBef>
              <a:spcAft>
                <a:spcPct val="0"/>
              </a:spcAft>
            </a:pPr>
            <a:endParaRPr lang="fa-IR" sz="1056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4" name="Title 15"/>
          <p:cNvSpPr txBox="1">
            <a:spLocks/>
          </p:cNvSpPr>
          <p:nvPr/>
        </p:nvSpPr>
        <p:spPr bwMode="auto">
          <a:xfrm>
            <a:off x="4314591" y="1382201"/>
            <a:ext cx="3727589" cy="35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4295" tIns="37148" rIns="74295" bIns="37148" numCol="1" anchor="ctr" anchorCtr="0" compatLnSpc="1">
            <a:prstTxWarp prst="textNoShape">
              <a:avLst/>
            </a:prstTxWarp>
          </a:bodyPr>
          <a:lstStyle/>
          <a:p>
            <a:pPr algn="r" rtl="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fa-IR" sz="1625" b="1">
                <a:solidFill>
                  <a:srgbClr val="FFFFFF"/>
                </a:solidFill>
                <a:latin typeface="B Nazanin"/>
                <a:cs typeface="B Nazanin" pitchFamily="2" charset="-78"/>
              </a:rPr>
              <a:t>نماي كلي</a:t>
            </a:r>
            <a:endParaRPr lang="fa-IR" sz="1625" b="1" kern="0" spc="-24">
              <a:solidFill>
                <a:srgbClr val="FFFFFF"/>
              </a:solidFill>
              <a:latin typeface="Arial"/>
              <a:cs typeface="B Nazanin" pitchFamily="2" charset="-78"/>
            </a:endParaRPr>
          </a:p>
        </p:txBody>
      </p:sp>
      <p:pic>
        <p:nvPicPr>
          <p:cNvPr id="26" name="Picture 25" descr="Magnifyer 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094487" y="1286991"/>
            <a:ext cx="541125" cy="541125"/>
          </a:xfrm>
          <a:prstGeom prst="rect">
            <a:avLst/>
          </a:prstGeom>
        </p:spPr>
      </p:pic>
      <p:graphicFrame>
        <p:nvGraphicFramePr>
          <p:cNvPr id="43" name="Chart 42"/>
          <p:cNvGraphicFramePr/>
          <p:nvPr>
            <p:extLst>
              <p:ext uri="{D42A27DB-BD31-4B8C-83A1-F6EECF244321}">
                <p14:modId xmlns:p14="http://schemas.microsoft.com/office/powerpoint/2010/main" val="2565597732"/>
              </p:ext>
            </p:extLst>
          </p:nvPr>
        </p:nvGraphicFramePr>
        <p:xfrm>
          <a:off x="1441771" y="4326733"/>
          <a:ext cx="3410622" cy="15147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9528254"/>
              </p:ext>
            </p:extLst>
          </p:nvPr>
        </p:nvGraphicFramePr>
        <p:xfrm>
          <a:off x="4953923" y="3998270"/>
          <a:ext cx="3463336" cy="1863224"/>
        </p:xfrm>
        <a:graphic>
          <a:graphicData uri="http://schemas.openxmlformats.org/drawingml/2006/table">
            <a:tbl>
              <a:tblPr rtl="1"/>
              <a:tblGrid>
                <a:gridCol w="11544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54446">
                  <a:extLst>
                    <a:ext uri="{9D8B030D-6E8A-4147-A177-3AD203B41FA5}">
                      <a16:colId xmlns:a16="http://schemas.microsoft.com/office/drawing/2014/main" val="72834989"/>
                    </a:ext>
                  </a:extLst>
                </a:gridCol>
                <a:gridCol w="1154445">
                  <a:extLst>
                    <a:ext uri="{9D8B030D-6E8A-4147-A177-3AD203B41FA5}">
                      <a16:colId xmlns:a16="http://schemas.microsoft.com/office/drawing/2014/main" val="639004351"/>
                    </a:ext>
                  </a:extLst>
                </a:gridCol>
              </a:tblGrid>
              <a:tr h="365911">
                <a:tc gridSpan="3">
                  <a:txBody>
                    <a:bodyPr/>
                    <a:lstStyle/>
                    <a:p>
                      <a:pPr algn="ctr" rtl="1" fontAlgn="ctr"/>
                      <a:r>
                        <a:rPr lang="fa-IR" sz="11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وضعیت پیشرفت</a:t>
                      </a:r>
                      <a:r>
                        <a:rPr lang="fa-IR" sz="11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قدام استراتژیک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585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139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100% الی 95%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585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95% الی 85%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585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66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85% الی 0%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585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5306">
                <a:tc gridSpan="2">
                  <a:txBody>
                    <a:bodyPr/>
                    <a:lstStyle/>
                    <a:p>
                      <a:pPr algn="ctr" rtl="1" fontAlgn="ctr"/>
                      <a:r>
                        <a:rPr lang="fa-IR" sz="11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درصد پیشرفت </a:t>
                      </a:r>
                      <a:r>
                        <a:rPr lang="fa-IR" sz="11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جمیعی</a:t>
                      </a:r>
                      <a:r>
                        <a:rPr lang="fa-IR" sz="11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برنامه</a:t>
                      </a:r>
                      <a:r>
                        <a:rPr lang="fa-IR" sz="11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ی</a:t>
                      </a:r>
                      <a:endParaRPr lang="fa-IR" sz="11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585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r>
                        <a:rPr lang="fa-IR" sz="1300" b="1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80%</a:t>
                      </a:r>
                      <a:endParaRPr lang="en-US" sz="1300" b="1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585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5306">
                <a:tc gridSpan="2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1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درصد پیشرفت </a:t>
                      </a:r>
                      <a:r>
                        <a:rPr lang="fa-IR" sz="11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جمیعی</a:t>
                      </a:r>
                      <a:r>
                        <a:rPr lang="fa-IR" sz="11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واقعی</a:t>
                      </a:r>
                    </a:p>
                  </a:txBody>
                  <a:tcPr marL="0" marR="585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r>
                        <a:rPr lang="fa-IR" sz="1300" b="1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60%</a:t>
                      </a:r>
                      <a:endParaRPr lang="en-US" sz="1300" b="1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585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2422588"/>
                  </a:ext>
                </a:extLst>
              </a:tr>
              <a:tr h="385306">
                <a:tc gridSpan="2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1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درصد</a:t>
                      </a:r>
                      <a:r>
                        <a:rPr lang="fa-IR" sz="11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تحقق برنامه</a:t>
                      </a:r>
                    </a:p>
                    <a:p>
                      <a:pPr marL="0" marR="0" lvl="0" indent="0" algn="ctr" defTabSz="914400" rtl="1" eaLnBrk="1" fontAlgn="ctr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900" b="1" i="0" u="none" strike="noStrike" spc="0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(پیشرفت واقعی تقسیم بر پیشرفت برنامه ای)</a:t>
                      </a:r>
                    </a:p>
                  </a:txBody>
                  <a:tcPr marL="0" marR="585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r>
                        <a:rPr lang="fa-IR" sz="1300" b="1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75%</a:t>
                      </a:r>
                      <a:endParaRPr lang="en-US" sz="1300" b="1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585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0925430"/>
                  </a:ext>
                </a:extLst>
              </a:tr>
            </a:tbl>
          </a:graphicData>
        </a:graphic>
      </p:graphicFrame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60080809"/>
              </p:ext>
            </p:extLst>
          </p:nvPr>
        </p:nvGraphicFramePr>
        <p:xfrm>
          <a:off x="1288904" y="1401411"/>
          <a:ext cx="742950" cy="6268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2" name="Worksheet" showAsIcon="1" r:id="rId5" imgW="914400" imgH="771480" progId="Excel.Sheet.12">
                  <p:embed/>
                </p:oleObj>
              </mc:Choice>
              <mc:Fallback>
                <p:oleObj name="Worksheet" showAsIcon="1" r:id="rId5" imgW="914400" imgH="771480" progId="Excel.Sheet.12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88904" y="1401411"/>
                        <a:ext cx="742950" cy="62686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83278897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ounded Rectangle 18"/>
          <p:cNvSpPr/>
          <p:nvPr/>
        </p:nvSpPr>
        <p:spPr bwMode="auto">
          <a:xfrm>
            <a:off x="4271964" y="1382941"/>
            <a:ext cx="4202311" cy="351000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7148" tIns="37148" rIns="37148" bIns="37148" numCol="1" rtl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35000"/>
              </a:spcBef>
              <a:spcAft>
                <a:spcPct val="0"/>
              </a:spcAft>
            </a:pPr>
            <a:endParaRPr lang="fa-IR" sz="1056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0" name="Title 15"/>
          <p:cNvSpPr txBox="1">
            <a:spLocks/>
          </p:cNvSpPr>
          <p:nvPr/>
        </p:nvSpPr>
        <p:spPr bwMode="auto">
          <a:xfrm>
            <a:off x="4314591" y="1382201"/>
            <a:ext cx="3727589" cy="35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4295" tIns="37148" rIns="74295" bIns="37148" numCol="1" anchor="ctr" anchorCtr="0" compatLnSpc="1">
            <a:prstTxWarp prst="textNoShape">
              <a:avLst/>
            </a:prstTxWarp>
          </a:bodyPr>
          <a:lstStyle/>
          <a:p>
            <a:pPr algn="r" rtl="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fa-IR" sz="1625" b="1" kern="0" spc="-24">
                <a:solidFill>
                  <a:srgbClr val="FFFFFF"/>
                </a:solidFill>
                <a:latin typeface="Arial"/>
                <a:cs typeface="B Nazanin" pitchFamily="2" charset="-78"/>
              </a:rPr>
              <a:t>نماي تفصيلي</a:t>
            </a:r>
          </a:p>
        </p:txBody>
      </p:sp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/>
              <a:t>وضعیت اجرای اقدام استراتژیک</a:t>
            </a:r>
          </a:p>
        </p:txBody>
      </p:sp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9076632"/>
              </p:ext>
            </p:extLst>
          </p:nvPr>
        </p:nvGraphicFramePr>
        <p:xfrm>
          <a:off x="1116125" y="1964786"/>
          <a:ext cx="7668609" cy="3774549"/>
        </p:xfrm>
        <a:graphic>
          <a:graphicData uri="http://schemas.openxmlformats.org/drawingml/2006/table">
            <a:tbl>
              <a:tblPr rtl="1"/>
              <a:tblGrid>
                <a:gridCol w="3870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274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59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1431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11916">
                  <a:extLst>
                    <a:ext uri="{9D8B030D-6E8A-4147-A177-3AD203B41FA5}">
                      <a16:colId xmlns:a16="http://schemas.microsoft.com/office/drawing/2014/main" val="2813668953"/>
                    </a:ext>
                  </a:extLst>
                </a:gridCol>
                <a:gridCol w="2189103">
                  <a:extLst>
                    <a:ext uri="{9D8B030D-6E8A-4147-A177-3AD203B41FA5}">
                      <a16:colId xmlns:a16="http://schemas.microsoft.com/office/drawing/2014/main" val="1795941034"/>
                    </a:ext>
                  </a:extLst>
                </a:gridCol>
                <a:gridCol w="551413">
                  <a:extLst>
                    <a:ext uri="{9D8B030D-6E8A-4147-A177-3AD203B41FA5}">
                      <a16:colId xmlns:a16="http://schemas.microsoft.com/office/drawing/2014/main" val="250335139"/>
                    </a:ext>
                  </a:extLst>
                </a:gridCol>
                <a:gridCol w="55141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405343">
                <a:tc rowSpan="2">
                  <a:txBody>
                    <a:bodyPr/>
                    <a:lstStyle/>
                    <a:p>
                      <a:pPr algn="ctr" rtl="1" fontAlgn="ctr"/>
                      <a:r>
                        <a:rPr lang="fa-IR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رديف</a:t>
                      </a:r>
                      <a:endParaRPr lang="fa-IR" sz="11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70C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1" fontAlgn="ctr"/>
                      <a:r>
                        <a:rPr lang="fa-IR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طرح اجرایی اقدام استراتژیک</a:t>
                      </a:r>
                      <a:endParaRPr lang="fa-IR" sz="12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1" fontAlgn="ctr"/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3E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1" fontAlgn="ctr"/>
                      <a:endParaRPr lang="fa-IR" sz="15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1"/>
                      <a:r>
                        <a:rPr lang="fa-IR" sz="12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ea typeface="+mn-ea"/>
                          <a:cs typeface="B Nazanin" pitchFamily="2" charset="-78"/>
                        </a:rPr>
                        <a:t>وضعیت اجرای اقدام استراتژیک</a:t>
                      </a:r>
                      <a:endParaRPr lang="fa-IR" sz="1200" b="1" i="0" u="none" strike="noStrike" kern="1200" dirty="0">
                        <a:solidFill>
                          <a:srgbClr val="FFFFFF"/>
                        </a:solidFill>
                        <a:effectLst/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7804">
                <a:tc v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فعالیت های اصلی اقدام</a:t>
                      </a:r>
                      <a:endParaRPr lang="fa-IR" sz="11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درصد وزن</a:t>
                      </a:r>
                      <a:endParaRPr lang="fa-IR" sz="11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خروجی قابل تحویل</a:t>
                      </a:r>
                      <a:endParaRPr lang="fa-IR" sz="11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زمان تحویل</a:t>
                      </a:r>
                    </a:p>
                    <a:p>
                      <a:pPr algn="ctr" rtl="1" fontAlgn="ctr"/>
                      <a:r>
                        <a:rPr lang="fa-IR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(برنامه ای)</a:t>
                      </a:r>
                      <a:endParaRPr lang="fa-IR" sz="11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خروجی تحویل شده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زمان تحویل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درصد تحقق فعالیت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9684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1" i="0" u="none" strike="noStrike" dirty="0">
                          <a:effectLst/>
                          <a:latin typeface="B Nazanin"/>
                          <a:cs typeface="B Nazanin" pitchFamily="2" charset="-78"/>
                        </a:rPr>
                        <a:t>1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 fontAlgn="ctr"/>
                      <a:r>
                        <a:rPr lang="fa-I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بررسی وضع موجود و الگوبرداری از شرکت های مشابه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10%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 fontAlgn="ctr"/>
                      <a:r>
                        <a:rPr lang="fa-IR" sz="11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گزارش الگوبرداری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09/15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گزارش الگوبرداری</a:t>
                      </a:r>
                      <a:endParaRPr lang="fa-IR" sz="11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9/15</a:t>
                      </a:r>
                      <a:endParaRPr lang="fa-IR" sz="11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10%</a:t>
                      </a:r>
                      <a:endParaRPr lang="fa-IR" sz="11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4449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1" i="0" u="none" strike="noStrike" dirty="0">
                          <a:effectLst/>
                          <a:latin typeface="B Nazanin"/>
                          <a:cs typeface="B Nazanin" pitchFamily="2" charset="-78"/>
                        </a:rPr>
                        <a:t>2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 fontAlgn="ctr"/>
                      <a:r>
                        <a:rPr lang="fa-I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محاسبه سوابق هزینه سال های گذشته مرتبط با تحقیق و توسعه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25%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 fontAlgn="ctr"/>
                      <a:r>
                        <a:rPr lang="fa-IR" sz="11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گزارش روند هزینه های مرتبط با تحقیق و توسعه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10/15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در حال تهیه گزارش</a:t>
                      </a:r>
                      <a:endParaRPr lang="fa-IR" sz="11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10/15</a:t>
                      </a:r>
                      <a:endParaRPr lang="fa-IR" sz="11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25%</a:t>
                      </a:r>
                      <a:endParaRPr lang="fa-IR" sz="11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7804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1" i="0" u="none" strike="noStrike" dirty="0">
                          <a:effectLst/>
                          <a:latin typeface="B Nazanin"/>
                          <a:cs typeface="B Nazanin" pitchFamily="2" charset="-78"/>
                        </a:rPr>
                        <a:t>3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 fontAlgn="ctr"/>
                      <a:r>
                        <a:rPr lang="fa-I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برآورد هزینه های آتی تحقیق و توسعه بر اساس استراتژی های شرکت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25%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 fontAlgn="ctr"/>
                      <a:r>
                        <a:rPr lang="fa-I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گزارش روند هزینه های آتی مرتبط با تحقیق و توسعه در افق استراتژی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11/15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گزارش برآورد</a:t>
                      </a:r>
                      <a:endParaRPr lang="fa-IR" sz="11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97/11/15</a:t>
                      </a:r>
                      <a:endParaRPr lang="fa-IR" sz="11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25%</a:t>
                      </a:r>
                      <a:endParaRPr lang="fa-IR" sz="11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90657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1" i="0" u="none" strike="noStrike" dirty="0">
                          <a:effectLst/>
                          <a:latin typeface="B Nazanin"/>
                          <a:cs typeface="B Nazanin" pitchFamily="2" charset="-78"/>
                        </a:rPr>
                        <a:t>4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 fontAlgn="ctr"/>
                      <a:r>
                        <a:rPr lang="fa-I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تعیین سیاست نحوه تخمین و تخصیص بودجه مستقل برای واحد تحقیق و توسعه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20%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 fontAlgn="ctr"/>
                      <a:r>
                        <a:rPr lang="fa-I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سیاست تعیین بودجه برای واحد تحقیق و توسعه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12/01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1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97/12/01</a:t>
                      </a:r>
                      <a:endParaRPr lang="fa-IR" sz="11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20%</a:t>
                      </a:r>
                      <a:endParaRPr lang="fa-IR" sz="11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27804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1" i="0" u="none" strike="noStrike" dirty="0">
                          <a:effectLst/>
                          <a:latin typeface="B Nazanin"/>
                          <a:cs typeface="B Nazanin" pitchFamily="2" charset="-78"/>
                        </a:rPr>
                        <a:t>5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 fontAlgn="ctr"/>
                      <a:r>
                        <a:rPr lang="fa-I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تعریف سرفصل بودجه در ردیف بودجه سالیانه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15%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 fontAlgn="ctr"/>
                      <a:r>
                        <a:rPr lang="fa-I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سرفصل</a:t>
                      </a:r>
                      <a:r>
                        <a:rPr lang="fa-I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 بودجه تحقیق و توسعه در ردیف بودجه سالیانه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12/15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سرفصل</a:t>
                      </a:r>
                      <a:r>
                        <a:rPr lang="fa-I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 بودجه تحقیق و توسعه در ردیف بودجه</a:t>
                      </a:r>
                      <a:endParaRPr lang="fa-IR" sz="11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fa-IR" sz="1100" b="0" dirty="0" smtClean="0">
                          <a:cs typeface="B Nazanin" pitchFamily="2" charset="-78"/>
                        </a:rPr>
                        <a:t>97/12/15</a:t>
                      </a:r>
                      <a:endParaRPr lang="fa-IR" sz="1100" b="0" dirty="0">
                        <a:cs typeface="B Nazanin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fa-IR" sz="1100" b="0" dirty="0" smtClean="0">
                          <a:cs typeface="B Nazanin" pitchFamily="2" charset="-78"/>
                        </a:rPr>
                        <a:t>15%</a:t>
                      </a:r>
                      <a:endParaRPr lang="fa-IR" sz="1100" b="0" dirty="0">
                        <a:cs typeface="B Nazanin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25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1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6</a:t>
                      </a:r>
                      <a:endParaRPr lang="fa-IR" sz="1100" b="1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 fontAlgn="ctr"/>
                      <a:r>
                        <a:rPr lang="fa-I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تصویب بودجه در هیئت مدیره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5%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1" fontAlgn="ctr"/>
                      <a:r>
                        <a:rPr lang="fa-I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بودجه مصوب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8/01/01</a:t>
                      </a: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بودجه</a:t>
                      </a:r>
                      <a:r>
                        <a:rPr lang="fa-IR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 مصوب واحد</a:t>
                      </a:r>
                      <a:endParaRPr lang="fa-IR" sz="11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fa-IR" sz="1100" b="0" dirty="0" smtClean="0">
                          <a:cs typeface="B Nazanin" pitchFamily="2" charset="-78"/>
                        </a:rPr>
                        <a:t>98/01/01</a:t>
                      </a:r>
                      <a:endParaRPr lang="fa-IR" sz="1100" b="0" dirty="0">
                        <a:cs typeface="B Nazanin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fa-IR" sz="1100" b="0" dirty="0" smtClean="0">
                          <a:cs typeface="B Nazanin" pitchFamily="2" charset="-78"/>
                        </a:rPr>
                        <a:t>5%</a:t>
                      </a:r>
                      <a:endParaRPr lang="fa-IR" sz="1100" b="0" dirty="0">
                        <a:cs typeface="B Nazanin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2313644"/>
                  </a:ext>
                </a:extLst>
              </a:tr>
              <a:tr h="285167">
                <a:tc gridSpan="2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مجموع</a:t>
                      </a:r>
                      <a:endParaRPr lang="fa-IR" sz="1200" b="1" i="0" u="none" strike="noStrike" dirty="0">
                        <a:solidFill>
                          <a:schemeClr val="bg1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3E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100%</a:t>
                      </a:r>
                      <a:endParaRPr lang="fa-IR" sz="1200" b="1" i="0" u="none" strike="noStrike" dirty="0">
                        <a:solidFill>
                          <a:schemeClr val="bg1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200" b="0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7739" marR="7739" marT="7739" marB="0" anchor="ctr">
                    <a:lnL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200" b="0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1" fontAlgn="ctr"/>
                      <a:r>
                        <a:rPr lang="fa-I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مجموع</a:t>
                      </a:r>
                      <a:endParaRPr lang="fa-IR" sz="1200" b="1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rtl="1" fontAlgn="ctr"/>
                      <a:endParaRPr lang="fa-IR" sz="1500" b="0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0%</a:t>
                      </a:r>
                      <a:endParaRPr lang="fa-IR" sz="1200" b="1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7739" marR="7739" marT="7739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256993"/>
                  </a:ext>
                </a:extLst>
              </a:tr>
            </a:tbl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4972" y="1286991"/>
            <a:ext cx="540157" cy="54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958675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09" name="Picture 1" descr="C:\Documents and Settings\Khanbabaie_F\Desktop\16915464-breaking-trend-with-five-why-methodology-modern-six-sigma-concept copy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53105" y="1025771"/>
            <a:ext cx="1817926" cy="964062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8998216"/>
              </p:ext>
            </p:extLst>
          </p:nvPr>
        </p:nvGraphicFramePr>
        <p:xfrm>
          <a:off x="1594632" y="2017823"/>
          <a:ext cx="7031843" cy="3825771"/>
        </p:xfrm>
        <a:graphic>
          <a:graphicData uri="http://schemas.openxmlformats.org/drawingml/2006/table">
            <a:tbl>
              <a:tblPr rtl="1"/>
              <a:tblGrid>
                <a:gridCol w="70318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2906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حلیل ریشه ای انحراف اجرای اقدام</a:t>
                      </a:r>
                      <a:r>
                        <a:rPr lang="fa-IR" sz="13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ز برنامه</a:t>
                      </a:r>
                      <a:endParaRPr lang="fa-IR" sz="13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0957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1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1- 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87750" marR="87750" marT="7739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0957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100" b="0" i="0" u="none" strike="noStrike" kern="120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2- به</a:t>
                      </a:r>
                      <a:r>
                        <a:rPr lang="fa-IR" sz="1100" b="0" i="0" u="none" strike="noStrike" kern="1200" baseline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 دلیل برگزاری گردهمایی علمی و جابجایی مدیر واحد، این مرحله به تاخیر افتاده است.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87750" marR="8775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0957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1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3- 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87750" marR="8775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0957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1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4- 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87750" marR="8775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0957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1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5- 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87750" marR="8775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329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چالش های اصلی اجرای اقدام</a:t>
                      </a:r>
                      <a:r>
                        <a:rPr lang="fa-IR" sz="13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ستراتژیک</a:t>
                      </a:r>
                      <a:endParaRPr lang="fa-IR" sz="13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435803"/>
                  </a:ext>
                </a:extLst>
              </a:tr>
              <a:tr h="300957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1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1- 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87750" marR="8775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4544636"/>
                  </a:ext>
                </a:extLst>
              </a:tr>
              <a:tr h="300957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1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2- 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87750" marR="8775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1111933"/>
                  </a:ext>
                </a:extLst>
              </a:tr>
              <a:tr h="300957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1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3- 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87750" marR="8775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0957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1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4- 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87750" marR="8775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00957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1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5- </a:t>
                      </a:r>
                      <a:endParaRPr lang="en-US" sz="11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87750" marR="8775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/>
              <a:t>وضعیت اجرای اقدام استراتژیک</a:t>
            </a:r>
          </a:p>
        </p:txBody>
      </p:sp>
      <p:sp>
        <p:nvSpPr>
          <p:cNvPr id="10" name="Rounded Rectangle 9"/>
          <p:cNvSpPr/>
          <p:nvPr/>
        </p:nvSpPr>
        <p:spPr bwMode="auto">
          <a:xfrm>
            <a:off x="4271962" y="1382941"/>
            <a:ext cx="4354513" cy="351000"/>
          </a:xfrm>
          <a:prstGeom prst="roundRect">
            <a:avLst>
              <a:gd name="adj" fmla="val 50000"/>
            </a:avLst>
          </a:prstGeom>
          <a:solidFill>
            <a:srgbClr val="33CCFF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7148" tIns="37148" rIns="37148" bIns="37148" numCol="1" rtl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35000"/>
              </a:spcBef>
              <a:spcAft>
                <a:spcPct val="0"/>
              </a:spcAft>
            </a:pPr>
            <a:endParaRPr lang="fa-IR" sz="1056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Title 15"/>
          <p:cNvSpPr txBox="1">
            <a:spLocks/>
          </p:cNvSpPr>
          <p:nvPr/>
        </p:nvSpPr>
        <p:spPr bwMode="auto">
          <a:xfrm>
            <a:off x="4314591" y="1382201"/>
            <a:ext cx="3727589" cy="35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4295" tIns="37148" rIns="74295" bIns="37148" numCol="1" anchor="ctr" anchorCtr="0" compatLnSpc="1">
            <a:prstTxWarp prst="textNoShape">
              <a:avLst/>
            </a:prstTxWarp>
          </a:bodyPr>
          <a:lstStyle/>
          <a:p>
            <a:pPr algn="r" rtl="1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fa-IR" sz="1625" b="1" kern="0" spc="-24" dirty="0">
                <a:solidFill>
                  <a:srgbClr val="FFFFFF"/>
                </a:solidFill>
                <a:latin typeface="Arial"/>
                <a:cs typeface="B Nazanin" pitchFamily="2" charset="-78"/>
              </a:rPr>
              <a:t>تحلیل روند اجرای اقدام استراتژیک</a:t>
            </a:r>
          </a:p>
        </p:txBody>
      </p:sp>
      <p:pic>
        <p:nvPicPr>
          <p:cNvPr id="14" name="Picture 13" descr="Trend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095058" y="1287858"/>
            <a:ext cx="541125" cy="54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9191250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47649" y="1455678"/>
            <a:ext cx="9401175" cy="794038"/>
          </a:xfrm>
        </p:spPr>
        <p:txBody>
          <a:bodyPr/>
          <a:lstStyle/>
          <a:p>
            <a:r>
              <a:rPr lang="fa-IR" dirty="0"/>
              <a:t>مشارکت با مرکز تحقیقات وزارت راه و نهادهای دانشگاهی جهت بررسی و بازنگری پهنه بندی جغرافیایی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930550" y="2718563"/>
            <a:ext cx="3653350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fa-IR" sz="2000" b="1" dirty="0" smtClean="0">
                <a:solidFill>
                  <a:schemeClr val="accent5">
                    <a:lumMod val="25000"/>
                  </a:schemeClr>
                </a:solidFill>
                <a:cs typeface="B Nazanin" panose="00000400000000000000" pitchFamily="2" charset="-78"/>
              </a:rPr>
              <a:t>منتهی به </a:t>
            </a:r>
            <a:r>
              <a:rPr lang="fa-IR" sz="2000" b="1" dirty="0">
                <a:solidFill>
                  <a:schemeClr val="accent5">
                    <a:lumMod val="25000"/>
                  </a:schemeClr>
                </a:solidFill>
                <a:cs typeface="B Nazanin" panose="00000400000000000000" pitchFamily="2" charset="-78"/>
              </a:rPr>
              <a:t>آذر </a:t>
            </a:r>
            <a:r>
              <a:rPr lang="fa-IR" sz="2000" b="1" dirty="0" smtClean="0">
                <a:solidFill>
                  <a:schemeClr val="accent5">
                    <a:lumMod val="25000"/>
                  </a:schemeClr>
                </a:solidFill>
                <a:cs typeface="B Nazanin" panose="00000400000000000000" pitchFamily="2" charset="-78"/>
              </a:rPr>
              <a:t>ماه سال 1397</a:t>
            </a:r>
            <a:endParaRPr lang="fa-IR" sz="2000" b="1" dirty="0">
              <a:solidFill>
                <a:schemeClr val="accent5">
                  <a:lumMod val="25000"/>
                </a:schemeClr>
              </a:solidFill>
              <a:cs typeface="B Nazanin" panose="00000400000000000000" pitchFamily="2" charset="-78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747825" y="5461763"/>
            <a:ext cx="2510350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2800" spc="-40" dirty="0" smtClean="0">
                <a:solidFill>
                  <a:srgbClr val="338E89"/>
                </a:solidFill>
                <a:cs typeface="B Nazanin" panose="00000400000000000000" pitchFamily="2" charset="-78"/>
              </a:rPr>
              <a:t>SP97-07-03</a:t>
            </a:r>
            <a:endParaRPr lang="en-US" sz="2800" spc="-40" dirty="0">
              <a:solidFill>
                <a:srgbClr val="338E89"/>
              </a:solidFill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984870616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 smtClean="0"/>
              <a:t>راهنمای تکمیل گزارش </a:t>
            </a:r>
            <a:r>
              <a:rPr lang="fa-IR" sz="1600" dirty="0" smtClean="0"/>
              <a:t>(ادامه)</a:t>
            </a:r>
            <a:endParaRPr lang="fa-IR" dirty="0"/>
          </a:p>
        </p:txBody>
      </p:sp>
      <p:sp>
        <p:nvSpPr>
          <p:cNvPr id="3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57048" y="1007620"/>
            <a:ext cx="8964481" cy="543522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</a:bodyPr>
          <a:lstStyle/>
          <a:p>
            <a:pPr marL="342900" lvl="1" indent="-228600" algn="just" rtl="1">
              <a:lnSpc>
                <a:spcPct val="110000"/>
              </a:lnSpc>
              <a:spcBef>
                <a:spcPts val="1200"/>
              </a:spcBef>
              <a:buSzPct val="110000"/>
              <a:buFont typeface="Wingdings"/>
              <a:buChar char="§"/>
              <a:defRPr/>
            </a:pPr>
            <a:r>
              <a:rPr lang="fa-IR" sz="2000" kern="0" dirty="0" smtClean="0">
                <a:cs typeface="B Nazanin" pitchFamily="2" charset="-78"/>
              </a:rPr>
              <a:t>جهت مشاهده فرم اقدام استراتژیک مصوب می توانید با </a:t>
            </a:r>
            <a:r>
              <a:rPr lang="fa-IR" sz="2000" kern="0" dirty="0" err="1" smtClean="0">
                <a:cs typeface="B Nazanin" pitchFamily="2" charset="-78"/>
              </a:rPr>
              <a:t>دبل</a:t>
            </a:r>
            <a:r>
              <a:rPr lang="fa-IR" sz="2000" kern="0" dirty="0" smtClean="0">
                <a:cs typeface="B Nazanin" pitchFamily="2" charset="-78"/>
              </a:rPr>
              <a:t> کلیک روی </a:t>
            </a:r>
            <a:r>
              <a:rPr lang="fa-IR" sz="2000" kern="0" dirty="0" err="1" smtClean="0">
                <a:cs typeface="B Nazanin" pitchFamily="2" charset="-78"/>
              </a:rPr>
              <a:t>آیکون</a:t>
            </a:r>
            <a:r>
              <a:rPr lang="fa-IR" sz="2000" kern="0" dirty="0" smtClean="0">
                <a:cs typeface="B Nazanin" pitchFamily="2" charset="-78"/>
              </a:rPr>
              <a:t> </a:t>
            </a:r>
            <a:r>
              <a:rPr lang="fa-IR" sz="2000" kern="0" dirty="0" err="1" smtClean="0">
                <a:cs typeface="B Nazanin" pitchFamily="2" charset="-78"/>
              </a:rPr>
              <a:t>اکسل</a:t>
            </a:r>
            <a:r>
              <a:rPr lang="fa-IR" sz="2000" kern="0" dirty="0" smtClean="0">
                <a:cs typeface="B Nazanin" pitchFamily="2" charset="-78"/>
              </a:rPr>
              <a:t> بالای جدول اسلاید اول، فرم مصوب اقدام مربوطه را در قالب فایل </a:t>
            </a:r>
            <a:r>
              <a:rPr lang="fa-IR" sz="2000" kern="0" dirty="0" err="1" smtClean="0">
                <a:cs typeface="B Nazanin" pitchFamily="2" charset="-78"/>
              </a:rPr>
              <a:t>اکسلی</a:t>
            </a:r>
            <a:r>
              <a:rPr lang="fa-IR" sz="2000" kern="0" dirty="0" smtClean="0">
                <a:cs typeface="B Nazanin" pitchFamily="2" charset="-78"/>
              </a:rPr>
              <a:t> که باز خواهد شد، مشاهده نمایید</a:t>
            </a:r>
          </a:p>
          <a:p>
            <a:pPr marL="342900" lvl="1" indent="-228600" algn="just" rtl="1">
              <a:lnSpc>
                <a:spcPct val="110000"/>
              </a:lnSpc>
              <a:spcBef>
                <a:spcPts val="1200"/>
              </a:spcBef>
              <a:buSzPct val="110000"/>
              <a:buFont typeface="Wingdings"/>
              <a:buChar char="§"/>
              <a:defRPr/>
            </a:pPr>
            <a:r>
              <a:rPr lang="fa-IR" sz="2000" kern="0" dirty="0" smtClean="0">
                <a:cs typeface="B Nazanin" pitchFamily="2" charset="-78"/>
              </a:rPr>
              <a:t>در اسلاید دوم، فعالیت های اصلی اقدام استراتژیک، خروجی هر فعالیت و وزن آن از فرم اقدام استراتژیک استخراج و ثبت شده است. جهت تکمیل این اسلاید، خروجی هر فعالیتی که انجام شده، تاریخ تکمیل و درصد انجام آن فعالیت (از 0 تا 100 درصد) را درج نمایید. در سطر آخر نیز درصد پیشرفت واقعی (که در اسلاید اول محاسبه نمودید) درج می گردد.</a:t>
            </a:r>
          </a:p>
          <a:p>
            <a:pPr marL="342900" lvl="1" indent="-228600" algn="just" rtl="1">
              <a:lnSpc>
                <a:spcPct val="110000"/>
              </a:lnSpc>
              <a:spcBef>
                <a:spcPts val="1200"/>
              </a:spcBef>
              <a:buSzPct val="110000"/>
              <a:buFont typeface="Wingdings"/>
              <a:buChar char="§"/>
              <a:defRPr/>
            </a:pPr>
            <a:r>
              <a:rPr lang="fa-IR" sz="2000" kern="0" dirty="0" smtClean="0">
                <a:cs typeface="B Nazanin" pitchFamily="2" charset="-78"/>
              </a:rPr>
              <a:t>اسلاید سوم شامل دلایل ریشه ای عدم تحقق برنامه ها می باشد که می بایست شناسایی و تحلیل گردد و در </a:t>
            </a:r>
            <a:r>
              <a:rPr lang="fa-IR" sz="2000" kern="0" dirty="0" err="1" smtClean="0">
                <a:cs typeface="B Nazanin" pitchFamily="2" charset="-78"/>
              </a:rPr>
              <a:t>سطرهای</a:t>
            </a:r>
            <a:r>
              <a:rPr lang="fa-IR" sz="2000" kern="0" dirty="0" smtClean="0">
                <a:cs typeface="B Nazanin" pitchFamily="2" charset="-78"/>
              </a:rPr>
              <a:t> مربوطه ثبت گردد. همچنین اگر چالشی در اجرای اقدام استراتژیک وجود دارد (از قبیل عدم تامین مالی، تاثیرات محیطی، تغییرات سیاست های شرکت در سطح مدیریت ارشد و ...) در </a:t>
            </a:r>
            <a:r>
              <a:rPr lang="fa-IR" sz="2000" kern="0" dirty="0" err="1" smtClean="0">
                <a:cs typeface="B Nazanin" pitchFamily="2" charset="-78"/>
              </a:rPr>
              <a:t>سطرهای</a:t>
            </a:r>
            <a:r>
              <a:rPr lang="fa-IR" sz="2000" kern="0" dirty="0" smtClean="0">
                <a:cs typeface="B Nazanin" pitchFamily="2" charset="-78"/>
              </a:rPr>
              <a:t> مربوطه درج می گردد.</a:t>
            </a:r>
            <a:endParaRPr lang="fa-IR" sz="2000" kern="0" dirty="0">
              <a:cs typeface="B Nazanin" pitchFamily="2" charset="-78"/>
            </a:endParaRPr>
          </a:p>
          <a:p>
            <a:pPr marL="342900" lvl="1" indent="-228600" algn="just" rtl="1">
              <a:lnSpc>
                <a:spcPct val="110000"/>
              </a:lnSpc>
              <a:spcBef>
                <a:spcPts val="1200"/>
              </a:spcBef>
              <a:buSzPct val="110000"/>
              <a:buFont typeface="Wingdings"/>
              <a:buChar char="§"/>
              <a:defRPr/>
            </a:pPr>
            <a:r>
              <a:rPr lang="fa-IR" sz="2000" kern="0" dirty="0" smtClean="0">
                <a:cs typeface="B Nazanin" pitchFamily="2" charset="-78"/>
              </a:rPr>
              <a:t>پیشاپیش از مشارکت، تخصیص زمان و تلاش شما در جهت تحقق اهداف استراتژیک شرکت </a:t>
            </a:r>
            <a:r>
              <a:rPr lang="fa-IR" sz="2000" kern="0" dirty="0" err="1" smtClean="0">
                <a:cs typeface="B Nazanin" pitchFamily="2" charset="-78"/>
              </a:rPr>
              <a:t>سپاسگزاریم</a:t>
            </a:r>
            <a:r>
              <a:rPr lang="fa-IR" sz="2000" kern="0" dirty="0" smtClean="0">
                <a:cs typeface="B Nazanin" pitchFamily="2" charset="-78"/>
              </a:rPr>
              <a:t>.</a:t>
            </a:r>
          </a:p>
          <a:p>
            <a:pPr marL="342900" lvl="1" indent="-228600" algn="just" rtl="1">
              <a:lnSpc>
                <a:spcPct val="110000"/>
              </a:lnSpc>
              <a:spcBef>
                <a:spcPts val="1200"/>
              </a:spcBef>
              <a:buSzPct val="110000"/>
              <a:buFont typeface="Wingdings"/>
              <a:buChar char="§"/>
              <a:defRPr/>
            </a:pPr>
            <a:endParaRPr lang="fa-IR" sz="1000" kern="0" dirty="0">
              <a:cs typeface="B Nazanin" pitchFamily="2" charset="-78"/>
            </a:endParaRPr>
          </a:p>
          <a:p>
            <a:pPr marL="114300" lvl="1" algn="just" rtl="1">
              <a:lnSpc>
                <a:spcPct val="110000"/>
              </a:lnSpc>
              <a:spcBef>
                <a:spcPts val="0"/>
              </a:spcBef>
              <a:buSzPct val="110000"/>
              <a:defRPr/>
            </a:pPr>
            <a:r>
              <a:rPr lang="fa-IR" sz="2000" kern="0" dirty="0" smtClean="0">
                <a:cs typeface="B Nazanin" pitchFamily="2" charset="-78"/>
              </a:rPr>
              <a:t>                                                                                        دفتر مدیریت استراتژیک</a:t>
            </a:r>
          </a:p>
          <a:p>
            <a:pPr marL="114300" lvl="1" algn="just" rtl="1">
              <a:lnSpc>
                <a:spcPct val="110000"/>
              </a:lnSpc>
              <a:spcBef>
                <a:spcPts val="0"/>
              </a:spcBef>
              <a:buSzPct val="110000"/>
              <a:defRPr/>
            </a:pPr>
            <a:r>
              <a:rPr lang="fa-IR" sz="2000" kern="0" dirty="0" smtClean="0">
                <a:cs typeface="B Nazanin" pitchFamily="2" charset="-78"/>
              </a:rPr>
              <a:t>                                                                                      </a:t>
            </a:r>
            <a:r>
              <a:rPr lang="fa-IR" sz="2000" kern="0" dirty="0">
                <a:cs typeface="B Nazanin" pitchFamily="2" charset="-78"/>
              </a:rPr>
              <a:t>واحد طرح و برنامه و راهبرد</a:t>
            </a:r>
            <a:endParaRPr lang="fa-IR" sz="2000" kern="0" dirty="0" smtClean="0">
              <a:cs typeface="B Nazanin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544952381"/>
      </p:ext>
    </p:extLst>
  </p:cSld>
  <p:clrMapOvr>
    <a:masterClrMapping/>
  </p:clrMapOvr>
  <p:transition>
    <p:wipe dir="d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le 14"/>
          <p:cNvGraphicFramePr>
            <a:graphicFrameLocks noGrp="1"/>
          </p:cNvGraphicFramePr>
          <p:nvPr>
            <p:extLst/>
          </p:nvPr>
        </p:nvGraphicFramePr>
        <p:xfrm>
          <a:off x="614366" y="4129641"/>
          <a:ext cx="4265170" cy="2293200"/>
        </p:xfrm>
        <a:graphic>
          <a:graphicData uri="http://schemas.openxmlformats.org/drawingml/2006/table">
            <a:tbl>
              <a:tblPr rtl="1"/>
              <a:tblGrid>
                <a:gridCol w="42651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4400">
                <a:tc>
                  <a:txBody>
                    <a:bodyPr/>
                    <a:lstStyle/>
                    <a:p>
                      <a:pPr algn="ctr" rtl="1" fontAlgn="ctr">
                        <a:lnSpc>
                          <a:spcPct val="110000"/>
                        </a:lnSpc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روند پیشرفت </a:t>
                      </a:r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جمیعی</a:t>
                      </a:r>
                      <a:r>
                        <a:rPr lang="fa-IR" sz="14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قدام استراتژیک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18800">
                <a:tc>
                  <a:txBody>
                    <a:bodyPr/>
                    <a:lstStyle/>
                    <a:p>
                      <a:pPr marL="57150" indent="0" algn="r" rtl="1" fontAlgn="ctr">
                        <a:lnSpc>
                          <a:spcPct val="110000"/>
                        </a:lnSpc>
                        <a:buFont typeface="Arial" pitchFamily="34" charset="0"/>
                        <a:buNone/>
                      </a:pPr>
                      <a:endParaRPr lang="fa-IR" sz="2200" b="1" i="0" u="none" strike="noStrike" dirty="0" smtClean="0">
                        <a:solidFill>
                          <a:schemeClr val="tx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9303409"/>
              </p:ext>
            </p:extLst>
          </p:nvPr>
        </p:nvGraphicFramePr>
        <p:xfrm>
          <a:off x="4954137" y="1523999"/>
          <a:ext cx="4263102" cy="2540322"/>
        </p:xfrm>
        <a:graphic>
          <a:graphicData uri="http://schemas.openxmlformats.org/drawingml/2006/table">
            <a:tbl>
              <a:tblPr rtl="1"/>
              <a:tblGrid>
                <a:gridCol w="21340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90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136322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نام اقدام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>
                        <a:lnSpc>
                          <a:spcPct val="100000"/>
                        </a:lnSpc>
                      </a:pPr>
                      <a:r>
                        <a:rPr lang="fa-IR" sz="1500" b="0" i="0" u="none" strike="noStrike" kern="1200" dirty="0" smtClean="0">
                          <a:solidFill>
                            <a:schemeClr val="tx1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مشارکت با مرکز تحقیقات وزارت راه و نهادهای دانشگاهی جهت بررسی و بازنگری پهنه بندی جغرافیایی	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کد اقدام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3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B Nazanin" pitchFamily="2" charset="-78"/>
                        </a:rPr>
                        <a:t>SP97-07-03</a:t>
                      </a:r>
                      <a:endParaRPr lang="en-US" sz="13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هدف استراتژیک مرتبط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r>
                        <a:rPr lang="fa-IR" sz="13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B Nazanin" pitchFamily="2" charset="-78"/>
                        </a:rPr>
                        <a:t>ارتقاء سبد محصولات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9219975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برنامه جامع استراتژیک مرتبط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a-IR" sz="15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B Nazanin"/>
                          <a:ea typeface="+mn-ea"/>
                          <a:cs typeface="B Nazanin" pitchFamily="2" charset="-78"/>
                        </a:rPr>
                        <a:t>توسعه و تنوع بخشی به سبد محصولات</a:t>
                      </a:r>
                      <a:endParaRPr kumimoji="0" lang="en-US" sz="15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67128"/>
                  </a:ext>
                </a:extLst>
              </a:tr>
            </a:tbl>
          </a:graphicData>
        </a:graphic>
      </p:graphicFrame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950911"/>
              </p:ext>
            </p:extLst>
          </p:nvPr>
        </p:nvGraphicFramePr>
        <p:xfrm>
          <a:off x="614366" y="1521396"/>
          <a:ext cx="4259961" cy="2544995"/>
        </p:xfrm>
        <a:graphic>
          <a:graphicData uri="http://schemas.openxmlformats.org/drawingml/2006/table">
            <a:tbl>
              <a:tblPr rtl="1"/>
              <a:tblGrid>
                <a:gridCol w="21309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90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4295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واحد متولی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مدیریت تحقیق و توسعه</a:t>
                      </a:r>
                      <a:endParaRPr lang="en-US" sz="15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295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نام متولی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0" i="0" u="none" strike="noStrike" kern="1200" dirty="0" err="1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الیاس</a:t>
                      </a:r>
                      <a:r>
                        <a:rPr lang="fa-IR" sz="15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 نیرومند</a:t>
                      </a:r>
                      <a:endParaRPr lang="en-US" sz="15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295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نام مجری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سارا فروتن</a:t>
                      </a:r>
                      <a:endParaRPr lang="en-US" sz="15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7426199"/>
                  </a:ext>
                </a:extLst>
              </a:tr>
              <a:tr h="573520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یم همکار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0" i="0" u="none" strike="noStrike" kern="1200" dirty="0" err="1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غفار</a:t>
                      </a:r>
                      <a:r>
                        <a:rPr lang="fa-IR" sz="15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 افشاری - دانشکده حمل و نقل دانشگاه اصفهان</a:t>
                      </a:r>
                      <a:endParaRPr lang="en-US" sz="15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909109"/>
                  </a:ext>
                </a:extLst>
              </a:tr>
              <a:tr h="39429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اريخ</a:t>
                      </a: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شروع (برنامه ای)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1500" b="0" i="0" u="none" strike="noStrike" dirty="0" smtClean="0">
                          <a:solidFill>
                            <a:schemeClr val="tx1"/>
                          </a:solidFill>
                          <a:latin typeface="B Nazanin"/>
                          <a:cs typeface="B Nazanin" pitchFamily="2" charset="-78"/>
                        </a:rPr>
                        <a:t>97/09/15</a:t>
                      </a:r>
                      <a:endParaRPr lang="en-US" sz="1500" b="0" i="0" u="none" strike="noStrike" dirty="0">
                        <a:solidFill>
                          <a:schemeClr val="tx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29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اريخ</a:t>
                      </a: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پایان (برنامه ای)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0" i="0" u="none" strike="noStrike" dirty="0" smtClean="0">
                          <a:solidFill>
                            <a:schemeClr val="tx1"/>
                          </a:solidFill>
                          <a:latin typeface="B Nazanin"/>
                          <a:cs typeface="B Nazanin" pitchFamily="2" charset="-78"/>
                        </a:rPr>
                        <a:t>98/09/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 smtClean="0"/>
              <a:t>وضعیت اجرای اقدام استراتژیک</a:t>
            </a:r>
            <a:endParaRPr lang="fa-IR" dirty="0"/>
          </a:p>
        </p:txBody>
      </p:sp>
      <p:sp>
        <p:nvSpPr>
          <p:cNvPr id="23" name="Rounded Rectangle 22"/>
          <p:cNvSpPr/>
          <p:nvPr/>
        </p:nvSpPr>
        <p:spPr bwMode="auto">
          <a:xfrm>
            <a:off x="4114800" y="910774"/>
            <a:ext cx="5359400" cy="432000"/>
          </a:xfrm>
          <a:prstGeom prst="roundRect">
            <a:avLst>
              <a:gd name="adj" fmla="val 50000"/>
            </a:avLst>
          </a:prstGeom>
          <a:solidFill>
            <a:srgbClr val="C8666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endParaRPr lang="fa-IR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4" name="Title 15"/>
          <p:cNvSpPr txBox="1">
            <a:spLocks/>
          </p:cNvSpPr>
          <p:nvPr/>
        </p:nvSpPr>
        <p:spPr bwMode="auto">
          <a:xfrm>
            <a:off x="4167266" y="909863"/>
            <a:ext cx="4587802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rtl="1">
              <a:spcBef>
                <a:spcPct val="0"/>
              </a:spcBef>
              <a:defRPr/>
            </a:pPr>
            <a:r>
              <a:rPr lang="fa-IR" sz="2000" b="1" smtClean="0">
                <a:solidFill>
                  <a:srgbClr val="FFFFFF"/>
                </a:solidFill>
                <a:latin typeface="B Nazanin"/>
                <a:cs typeface="B Nazanin" pitchFamily="2" charset="-78"/>
              </a:rPr>
              <a:t>نماي كلي</a:t>
            </a:r>
            <a:endParaRPr lang="fa-IR" sz="2000" b="1" kern="0" spc="-30" smtClean="0">
              <a:solidFill>
                <a:srgbClr val="FFFFFF"/>
              </a:solidFill>
              <a:latin typeface="Arial"/>
              <a:cs typeface="B Nazanin" pitchFamily="2" charset="-78"/>
            </a:endParaRPr>
          </a:p>
        </p:txBody>
      </p:sp>
      <p:pic>
        <p:nvPicPr>
          <p:cNvPr id="26" name="Picture 25" descr="Magnifyer 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819446" y="792681"/>
            <a:ext cx="666000" cy="666000"/>
          </a:xfrm>
          <a:prstGeom prst="rect">
            <a:avLst/>
          </a:prstGeom>
        </p:spPr>
      </p:pic>
      <p:graphicFrame>
        <p:nvGraphicFramePr>
          <p:cNvPr id="43" name="Chart 42"/>
          <p:cNvGraphicFramePr/>
          <p:nvPr>
            <p:extLst>
              <p:ext uri="{D42A27DB-BD31-4B8C-83A1-F6EECF244321}">
                <p14:modId xmlns:p14="http://schemas.microsoft.com/office/powerpoint/2010/main" val="3499772849"/>
              </p:ext>
            </p:extLst>
          </p:nvPr>
        </p:nvGraphicFramePr>
        <p:xfrm>
          <a:off x="631486" y="4533900"/>
          <a:ext cx="4197689" cy="18642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5" name="Table 24"/>
          <p:cNvGraphicFramePr>
            <a:graphicFrameLocks noGrp="1"/>
          </p:cNvGraphicFramePr>
          <p:nvPr>
            <p:extLst/>
          </p:nvPr>
        </p:nvGraphicFramePr>
        <p:xfrm>
          <a:off x="4954137" y="4129640"/>
          <a:ext cx="4262566" cy="2293200"/>
        </p:xfrm>
        <a:graphic>
          <a:graphicData uri="http://schemas.openxmlformats.org/drawingml/2006/table">
            <a:tbl>
              <a:tblPr rtl="1"/>
              <a:tblGrid>
                <a:gridCol w="14208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20856">
                  <a:extLst>
                    <a:ext uri="{9D8B030D-6E8A-4147-A177-3AD203B41FA5}">
                      <a16:colId xmlns:a16="http://schemas.microsoft.com/office/drawing/2014/main" val="72834989"/>
                    </a:ext>
                  </a:extLst>
                </a:gridCol>
                <a:gridCol w="1420855">
                  <a:extLst>
                    <a:ext uri="{9D8B030D-6E8A-4147-A177-3AD203B41FA5}">
                      <a16:colId xmlns:a16="http://schemas.microsoft.com/office/drawing/2014/main" val="639004351"/>
                    </a:ext>
                  </a:extLst>
                </a:gridCol>
              </a:tblGrid>
              <a:tr h="450352">
                <a:tc gridSpan="3"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وضعیت پیشرفت</a:t>
                      </a:r>
                      <a:r>
                        <a:rPr lang="fa-IR" sz="14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قدام استراتژیک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0179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100% الی 95%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95% الی 85%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66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85% الی 0%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4223">
                <a:tc gridSpan="2"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درصد پیشرفت </a:t>
                      </a:r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جمیعی</a:t>
                      </a: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برنامه</a:t>
                      </a:r>
                      <a:r>
                        <a:rPr lang="fa-IR" sz="14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ی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endParaRPr lang="en-US" sz="1600" b="1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4223">
                <a:tc gridSpan="2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درصد پیشرفت </a:t>
                      </a:r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جمیعی</a:t>
                      </a: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واقعی</a:t>
                      </a: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endParaRPr lang="en-US" sz="1600" b="1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2422588"/>
                  </a:ext>
                </a:extLst>
              </a:tr>
              <a:tr h="474223">
                <a:tc gridSpan="2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درصد</a:t>
                      </a:r>
                      <a:r>
                        <a:rPr lang="fa-IR" sz="14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تحقق برنامه</a:t>
                      </a:r>
                    </a:p>
                    <a:p>
                      <a:pPr marL="0" marR="0" lvl="0" indent="0" algn="ctr" defTabSz="914400" rtl="1" eaLnBrk="1" fontAlgn="ctr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100" b="1" i="0" u="none" strike="noStrike" spc="0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(پیشرفت واقعی تقسیم بر پیشرفت برنامه ای)</a:t>
                      </a: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endParaRPr lang="en-US" sz="1600" b="1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0925430"/>
                  </a:ext>
                </a:extLst>
              </a:tr>
            </a:tbl>
          </a:graphicData>
        </a:graphic>
      </p:graphicFrame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59005753"/>
              </p:ext>
            </p:extLst>
          </p:nvPr>
        </p:nvGraphicFramePr>
        <p:xfrm>
          <a:off x="463093" y="909863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3" name="Worksheet" showAsIcon="1" r:id="rId5" imgW="914400" imgH="771480" progId="Excel.Sheet.12">
                  <p:embed/>
                </p:oleObj>
              </mc:Choice>
              <mc:Fallback>
                <p:oleObj name="Worksheet" showAsIcon="1" r:id="rId5" imgW="914400" imgH="771480" progId="Excel.Sheet.12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3093" y="909863"/>
                        <a:ext cx="914400" cy="7715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01662100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ounded Rectangle 18"/>
          <p:cNvSpPr/>
          <p:nvPr/>
        </p:nvSpPr>
        <p:spPr bwMode="auto">
          <a:xfrm>
            <a:off x="4114800" y="910774"/>
            <a:ext cx="5172075" cy="432000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Title 15"/>
          <p:cNvSpPr txBox="1">
            <a:spLocks/>
          </p:cNvSpPr>
          <p:nvPr/>
        </p:nvSpPr>
        <p:spPr bwMode="auto">
          <a:xfrm>
            <a:off x="4167266" y="909863"/>
            <a:ext cx="4587802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r" rtl="1">
              <a:spcBef>
                <a:spcPct val="0"/>
              </a:spcBef>
              <a:defRPr/>
            </a:pPr>
            <a:r>
              <a:rPr lang="fa-IR" sz="2000" b="1" kern="0" spc="-30" smtClean="0">
                <a:solidFill>
                  <a:schemeClr val="bg1"/>
                </a:solidFill>
                <a:latin typeface="+mj-lt"/>
                <a:ea typeface="+mj-ea"/>
                <a:cs typeface="B Nazanin" pitchFamily="2" charset="-78"/>
              </a:rPr>
              <a:t>نماي تفصيلي</a:t>
            </a:r>
          </a:p>
        </p:txBody>
      </p:sp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/>
              <a:t>وضعیت اجرای اقدام استراتژیک</a:t>
            </a:r>
          </a:p>
        </p:txBody>
      </p:sp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598057"/>
              </p:ext>
            </p:extLst>
          </p:nvPr>
        </p:nvGraphicFramePr>
        <p:xfrm>
          <a:off x="230692" y="1626889"/>
          <a:ext cx="9438288" cy="3695839"/>
        </p:xfrm>
        <a:graphic>
          <a:graphicData uri="http://schemas.openxmlformats.org/drawingml/2006/table">
            <a:tbl>
              <a:tblPr rtl="1"/>
              <a:tblGrid>
                <a:gridCol w="4763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0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35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1761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53127">
                  <a:extLst>
                    <a:ext uri="{9D8B030D-6E8A-4147-A177-3AD203B41FA5}">
                      <a16:colId xmlns:a16="http://schemas.microsoft.com/office/drawing/2014/main" val="2813668953"/>
                    </a:ext>
                  </a:extLst>
                </a:gridCol>
                <a:gridCol w="2694281">
                  <a:extLst>
                    <a:ext uri="{9D8B030D-6E8A-4147-A177-3AD203B41FA5}">
                      <a16:colId xmlns:a16="http://schemas.microsoft.com/office/drawing/2014/main" val="1795941034"/>
                    </a:ext>
                  </a:extLst>
                </a:gridCol>
                <a:gridCol w="678662">
                  <a:extLst>
                    <a:ext uri="{9D8B030D-6E8A-4147-A177-3AD203B41FA5}">
                      <a16:colId xmlns:a16="http://schemas.microsoft.com/office/drawing/2014/main" val="250335139"/>
                    </a:ext>
                  </a:extLst>
                </a:gridCol>
                <a:gridCol w="67866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498884">
                <a:tc rowSpan="2"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رديف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70C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1" fontAlgn="ctr"/>
                      <a:r>
                        <a:rPr lang="fa-IR" sz="15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طرح اجرایی اقدام استراتژیک</a:t>
                      </a:r>
                      <a:endParaRPr lang="fa-IR" sz="15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1" fontAlgn="ctr"/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3E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1" fontAlgn="ctr"/>
                      <a:endParaRPr lang="fa-IR" sz="15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1"/>
                      <a:r>
                        <a:rPr lang="fa-IR" sz="15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ea typeface="+mn-ea"/>
                          <a:cs typeface="B Nazanin" pitchFamily="2" charset="-78"/>
                        </a:rPr>
                        <a:t>وضعیت اجرای اقدام استراتژیک</a:t>
                      </a:r>
                      <a:endParaRPr lang="fa-IR" sz="1500" b="1" i="0" u="none" strike="noStrike" kern="1200" dirty="0">
                        <a:solidFill>
                          <a:srgbClr val="FFFFFF"/>
                        </a:solidFill>
                        <a:effectLst/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884">
                <a:tc v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فعالیت های اصلی اقدام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درصد وزن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خروجی قابل تحویل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زمان تحویل</a:t>
                      </a:r>
                    </a:p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(برنامه ای)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خروجی تحویل شده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زمان تحویل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درصد تحقق فعالیت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1</a:t>
                      </a:r>
                      <a:endParaRPr lang="fa-IR" sz="1300" b="1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B Nazanin" panose="00000400000000000000" pitchFamily="2" charset="-78"/>
                        </a:rPr>
                        <a:t>عقد قرارداد با مشاور</a:t>
                      </a:r>
                      <a:endParaRPr lang="fa-IR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15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قرارداد</a:t>
                      </a:r>
                      <a:r>
                        <a:rPr lang="fa-IR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 مشاوره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12/29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پیش</a:t>
                      </a:r>
                      <a:r>
                        <a:rPr lang="fa-IR" sz="1400" b="0" i="0" u="none" strike="noStrike" baseline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 نویس قرارداد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8/01/01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10%</a:t>
                      </a:r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2</a:t>
                      </a:r>
                      <a:endParaRPr lang="fa-IR" sz="1300" b="1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3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B Nazanin" panose="00000400000000000000" pitchFamily="2" charset="-78"/>
                        </a:rPr>
                        <a:t>مطالعات اولیه در مورد مناطق مختلف آب و هوایی استان  به تفکیک ایستگاههای هواشناسی</a:t>
                      </a:r>
                      <a:endParaRPr lang="fa-IR" sz="13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15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گزارش مطالعات اولیه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8/03/01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3</a:t>
                      </a:r>
                      <a:endParaRPr lang="fa-IR" sz="1300" b="1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B Nazanin" panose="00000400000000000000" pitchFamily="2" charset="-78"/>
                        </a:rPr>
                        <a:t>تعیین محورهای اصلی وشریانهای اصلی استان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20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گزارش محورهای اصلی وشریانهای اصلی استان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8/06/01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4</a:t>
                      </a:r>
                      <a:endParaRPr lang="fa-IR" sz="1300" b="1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B Nazanin" panose="00000400000000000000" pitchFamily="2" charset="-78"/>
                        </a:rPr>
                        <a:t>طراحی قیر مناسب با هر محور و انجام آزمایشات کامل </a:t>
                      </a: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B Nazanin" panose="00000400000000000000" pitchFamily="2" charset="-78"/>
                        </a:rPr>
                        <a:t>SHRP 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20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ارائه مشخصات فنی و نتایج آزمایش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8/10/01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5</a:t>
                      </a:r>
                      <a:endParaRPr lang="fa-IR" sz="1300" b="1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B Nazanin" panose="00000400000000000000" pitchFamily="2" charset="-78"/>
                        </a:rPr>
                        <a:t>تهیه گزارش و نقشه </a:t>
                      </a:r>
                      <a:r>
                        <a:rPr lang="en-US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B Nazanin" panose="00000400000000000000" pitchFamily="2" charset="-78"/>
                        </a:rPr>
                        <a:t>GIS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30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گزارش نهایی 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8/11/15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/>
                      <a:endParaRPr lang="fa-IR" sz="1500" dirty="0"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/>
                      <a:endParaRPr lang="fa-IR" sz="1500" dirty="0"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405720"/>
                  </a:ext>
                </a:extLst>
              </a:tr>
              <a:tr h="350975">
                <a:tc gridSpan="2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مجموع</a:t>
                      </a: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3E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100%</a:t>
                      </a: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500" b="0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500" b="0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1" fontAlgn="ctr"/>
                      <a:r>
                        <a:rPr lang="fa-IR" sz="15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مجموع</a:t>
                      </a: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rtl="1" fontAlgn="ctr"/>
                      <a:endParaRPr lang="fa-IR" sz="1500" b="0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0%</a:t>
                      </a: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256993"/>
                  </a:ext>
                </a:extLst>
              </a:tr>
            </a:tbl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0041" y="792681"/>
            <a:ext cx="664809" cy="66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412332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09" name="Picture 1" descr="C:\Documents and Settings\Khanbabaie_F\Desktop\16915464-breaking-trend-with-five-why-methodology-modern-six-sigma-concept copy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8512" y="471180"/>
            <a:ext cx="2237447" cy="118653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8881139"/>
              </p:ext>
            </p:extLst>
          </p:nvPr>
        </p:nvGraphicFramePr>
        <p:xfrm>
          <a:off x="819624" y="1692165"/>
          <a:ext cx="8654576" cy="4708635"/>
        </p:xfrm>
        <a:graphic>
          <a:graphicData uri="http://schemas.openxmlformats.org/drawingml/2006/table">
            <a:tbl>
              <a:tblPr rtl="1"/>
              <a:tblGrid>
                <a:gridCol w="86545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205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6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حلیل ریشه ای انحراف اجرای اقدام</a:t>
                      </a:r>
                      <a:r>
                        <a:rPr lang="fa-IR" sz="16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ز برنامه</a:t>
                      </a:r>
                      <a:endParaRPr lang="fa-IR" sz="16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1- </a:t>
                      </a:r>
                      <a:r>
                        <a:rPr lang="fa-IR" sz="1400" b="0" i="0" u="none" strike="noStrike" kern="120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پروژه توسط معاونت بازرگالنی متوقف شده به دلیل اینکه معتقدند پروژه توجیه اقتصادی ندارد.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2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3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4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5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405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6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چالش های اصلی اجرای اقدام</a:t>
                      </a:r>
                      <a:r>
                        <a:rPr lang="fa-IR" sz="16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ستراتژیک</a:t>
                      </a:r>
                      <a:endParaRPr lang="fa-IR" sz="16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435803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1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4544636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2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1111933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3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4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5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/>
              <a:t>وضعیت اجرای اقدام استراتژیک</a:t>
            </a:r>
          </a:p>
        </p:txBody>
      </p:sp>
      <p:sp>
        <p:nvSpPr>
          <p:cNvPr id="10" name="Rounded Rectangle 9"/>
          <p:cNvSpPr/>
          <p:nvPr/>
        </p:nvSpPr>
        <p:spPr bwMode="auto">
          <a:xfrm>
            <a:off x="4114800" y="910774"/>
            <a:ext cx="5359400" cy="432000"/>
          </a:xfrm>
          <a:prstGeom prst="roundRect">
            <a:avLst>
              <a:gd name="adj" fmla="val 50000"/>
            </a:avLst>
          </a:prstGeom>
          <a:solidFill>
            <a:srgbClr val="33CCFF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Title 15"/>
          <p:cNvSpPr txBox="1">
            <a:spLocks/>
          </p:cNvSpPr>
          <p:nvPr/>
        </p:nvSpPr>
        <p:spPr bwMode="auto">
          <a:xfrm>
            <a:off x="4167266" y="909863"/>
            <a:ext cx="4587802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r" rtl="1">
              <a:spcBef>
                <a:spcPct val="0"/>
              </a:spcBef>
              <a:defRPr/>
            </a:pPr>
            <a:r>
              <a:rPr lang="fa-IR" sz="2000" b="1" kern="0" spc="-30" dirty="0" smtClean="0">
                <a:solidFill>
                  <a:schemeClr val="bg1"/>
                </a:solidFill>
                <a:latin typeface="+mj-lt"/>
                <a:ea typeface="+mj-ea"/>
                <a:cs typeface="B Nazanin" pitchFamily="2" charset="-78"/>
              </a:rPr>
              <a:t>تحلیل روند اجرای اقدام استراتژیک</a:t>
            </a:r>
          </a:p>
        </p:txBody>
      </p:sp>
      <p:pic>
        <p:nvPicPr>
          <p:cNvPr id="14" name="Picture 13" descr="Trend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820148" y="793748"/>
            <a:ext cx="666000" cy="66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145996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3" descr="C:\Documents and Settings\Khanbabaie_F\My Documents\My Pictures\Microsoft Clip Organizer\j0437745.wm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40600" y="1018312"/>
            <a:ext cx="4504031" cy="407352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Rectangle 2"/>
          <p:cNvSpPr/>
          <p:nvPr/>
        </p:nvSpPr>
        <p:spPr bwMode="auto">
          <a:xfrm>
            <a:off x="0" y="2337954"/>
            <a:ext cx="9906000" cy="976745"/>
          </a:xfrm>
          <a:prstGeom prst="rect">
            <a:avLst/>
          </a:prstGeom>
          <a:solidFill>
            <a:schemeClr val="bg1">
              <a:alpha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Content Placeholder 8"/>
          <p:cNvSpPr>
            <a:spLocks noGrp="1"/>
          </p:cNvSpPr>
          <p:nvPr>
            <p:ph idx="4294967295"/>
          </p:nvPr>
        </p:nvSpPr>
        <p:spPr>
          <a:xfrm>
            <a:off x="0" y="2402031"/>
            <a:ext cx="9906000" cy="3968750"/>
          </a:xfrm>
          <a:ln>
            <a:noFill/>
          </a:ln>
        </p:spPr>
        <p:txBody>
          <a:bodyPr rtlCol="0">
            <a:normAutofit/>
          </a:bodyPr>
          <a:lstStyle/>
          <a:p>
            <a:pPr algn="ctr" rtl="1" eaLnBrk="1" fontAlgn="auto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fa-IR" sz="4000" b="1" dirty="0" smtClean="0">
                <a:ln w="19050">
                  <a:noFill/>
                </a:ln>
                <a:solidFill>
                  <a:srgbClr val="6699FF"/>
                </a:solidFill>
                <a:latin typeface="+mj-lt"/>
                <a:ea typeface="+mj-ea"/>
                <a:cs typeface="B Nazanin" pitchFamily="2" charset="-78"/>
              </a:rPr>
              <a:t>با </a:t>
            </a:r>
            <a:r>
              <a:rPr lang="fa-IR" sz="4000" b="1" dirty="0" err="1" smtClean="0">
                <a:ln w="19050">
                  <a:noFill/>
                </a:ln>
                <a:solidFill>
                  <a:srgbClr val="6699FF"/>
                </a:solidFill>
                <a:latin typeface="+mj-lt"/>
                <a:ea typeface="+mj-ea"/>
                <a:cs typeface="B Nazanin" pitchFamily="2" charset="-78"/>
              </a:rPr>
              <a:t>تشكر</a:t>
            </a:r>
            <a:r>
              <a:rPr lang="fa-IR" sz="4000" b="1" dirty="0" smtClean="0">
                <a:ln w="19050">
                  <a:noFill/>
                </a:ln>
                <a:solidFill>
                  <a:srgbClr val="6699FF"/>
                </a:solidFill>
                <a:latin typeface="+mj-lt"/>
                <a:ea typeface="+mj-ea"/>
                <a:cs typeface="B Nazanin" pitchFamily="2" charset="-78"/>
              </a:rPr>
              <a:t> از توجه شما</a:t>
            </a:r>
          </a:p>
          <a:p>
            <a:pPr algn="ctr" rtl="1" eaLnBrk="1" fontAlgn="auto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/>
            </a:pPr>
            <a:endParaRPr lang="fa-IR" sz="2800" b="1" dirty="0">
              <a:solidFill>
                <a:srgbClr val="C00000"/>
              </a:solidFill>
              <a:latin typeface="+mj-lt"/>
              <a:ea typeface="+mj-ea"/>
            </a:endParaRPr>
          </a:p>
          <a:p>
            <a:pPr algn="ctr" rtl="1" eaLnBrk="1" fontAlgn="auto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/>
            </a:pPr>
            <a:endParaRPr lang="fa-IR" sz="4800" b="1" dirty="0" smtClean="0">
              <a:solidFill>
                <a:srgbClr val="C00000"/>
              </a:solidFill>
              <a:latin typeface="+mj-lt"/>
              <a:ea typeface="+mj-ea"/>
              <a:cs typeface="B Nazanin" pitchFamily="2" charset="-78"/>
            </a:endParaRPr>
          </a:p>
          <a:p>
            <a:pPr algn="ctr" eaLnBrk="1" fontAlgn="auto" hangingPunct="1">
              <a:spcBef>
                <a:spcPts val="600"/>
              </a:spcBef>
              <a:spcAft>
                <a:spcPts val="0"/>
              </a:spcAft>
              <a:buNone/>
              <a:defRPr/>
            </a:pPr>
            <a:r>
              <a:rPr lang="fa-IR" sz="2400" b="1" dirty="0">
                <a:solidFill>
                  <a:srgbClr val="6699FF"/>
                </a:solidFill>
                <a:latin typeface="+mj-lt"/>
                <a:ea typeface="+mj-ea"/>
              </a:rPr>
              <a:t>مدیریت تحقیق و توسعه</a:t>
            </a:r>
          </a:p>
          <a:p>
            <a:pPr algn="ctr" rtl="1" eaLnBrk="1" fontAlgn="auto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fa-IR" sz="2400" b="1" dirty="0" smtClean="0">
                <a:solidFill>
                  <a:srgbClr val="6699FF"/>
                </a:solidFill>
                <a:latin typeface="+mj-lt"/>
                <a:ea typeface="+mj-ea"/>
                <a:cs typeface="B Nazanin" pitchFamily="2" charset="-78"/>
              </a:rPr>
              <a:t>تاریخ تهیه گزارش: ***</a:t>
            </a:r>
            <a:endParaRPr lang="en-US" sz="2400" b="1" dirty="0">
              <a:solidFill>
                <a:srgbClr val="6699FF"/>
              </a:solidFill>
              <a:latin typeface="+mj-lt"/>
              <a:ea typeface="+mj-ea"/>
              <a:cs typeface="B Nazanin" pitchFamily="2" charset="-78"/>
            </a:endParaRPr>
          </a:p>
        </p:txBody>
      </p:sp>
      <p:sp>
        <p:nvSpPr>
          <p:cNvPr id="2" name="Rectangle 1"/>
          <p:cNvSpPr/>
          <p:nvPr/>
        </p:nvSpPr>
        <p:spPr bwMode="auto">
          <a:xfrm>
            <a:off x="3000375" y="76200"/>
            <a:ext cx="6829425" cy="866775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8226172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wews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05420" y="1130300"/>
            <a:ext cx="3125391" cy="5334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fa-IR" sz="2400" dirty="0" smtClean="0">
                <a:cs typeface="B Nazanin" pitchFamily="2" charset="-78"/>
              </a:rPr>
              <a:t>فهرست اقدامات استراتژیک</a:t>
            </a:r>
            <a:endParaRPr lang="en-US" sz="2400" dirty="0">
              <a:cs typeface="B Nazanin" pitchFamily="2" charset="-78"/>
            </a:endParaRPr>
          </a:p>
        </p:txBody>
      </p:sp>
      <p:sp>
        <p:nvSpPr>
          <p:cNvPr id="4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630811" y="1280889"/>
            <a:ext cx="5943270" cy="45243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</a:bodyPr>
          <a:lstStyle/>
          <a:p>
            <a:pPr marL="342900" lvl="1" indent="-228600" algn="just" rtl="1">
              <a:lnSpc>
                <a:spcPct val="110000"/>
              </a:lnSpc>
              <a:spcBef>
                <a:spcPts val="1200"/>
              </a:spcBef>
              <a:buSzPct val="110000"/>
              <a:buFont typeface="Wingdings"/>
              <a:buChar char="§"/>
              <a:defRPr/>
            </a:pPr>
            <a:r>
              <a:rPr lang="fa-IR" sz="2000" kern="0" dirty="0">
                <a:cs typeface="B Nazanin" pitchFamily="2" charset="-78"/>
              </a:rPr>
              <a:t>انجام مطالعات فنی و اجرای اقدامات لازم جهت برآورد سازی الزامات زیست </a:t>
            </a:r>
            <a:r>
              <a:rPr lang="fa-IR" sz="2000" kern="0" dirty="0" smtClean="0">
                <a:cs typeface="B Nazanin" pitchFamily="2" charset="-78"/>
              </a:rPr>
              <a:t>محیطی</a:t>
            </a:r>
          </a:p>
          <a:p>
            <a:pPr marL="342900" lvl="1" indent="-228600" algn="just" rtl="1">
              <a:lnSpc>
                <a:spcPct val="110000"/>
              </a:lnSpc>
              <a:spcBef>
                <a:spcPts val="1200"/>
              </a:spcBef>
              <a:buSzPct val="110000"/>
              <a:buFont typeface="Wingdings"/>
              <a:buChar char="§"/>
              <a:defRPr/>
            </a:pPr>
            <a:r>
              <a:rPr lang="fa-IR" sz="2000" kern="0" dirty="0">
                <a:cs typeface="B Nazanin" pitchFamily="2" charset="-78"/>
              </a:rPr>
              <a:t>بازنگری نقشه راه تحقیق و توسعه در راستای </a:t>
            </a:r>
            <a:r>
              <a:rPr lang="fa-IR" sz="2000" kern="0" dirty="0" err="1">
                <a:cs typeface="B Nazanin" pitchFamily="2" charset="-78"/>
              </a:rPr>
              <a:t>استراتژی‌های</a:t>
            </a:r>
            <a:r>
              <a:rPr lang="fa-IR" sz="2000" kern="0" dirty="0">
                <a:cs typeface="B Nazanin" pitchFamily="2" charset="-78"/>
              </a:rPr>
              <a:t> جدید</a:t>
            </a:r>
          </a:p>
          <a:p>
            <a:pPr marL="342900" lvl="1" indent="-228600" algn="just" rtl="1">
              <a:lnSpc>
                <a:spcPct val="110000"/>
              </a:lnSpc>
              <a:spcBef>
                <a:spcPts val="1200"/>
              </a:spcBef>
              <a:buSzPct val="110000"/>
              <a:buFont typeface="Wingdings"/>
              <a:buChar char="§"/>
              <a:defRPr/>
            </a:pPr>
            <a:r>
              <a:rPr lang="fa-IR" sz="2000" kern="0" dirty="0">
                <a:cs typeface="B Nazanin" pitchFamily="2" charset="-78"/>
              </a:rPr>
              <a:t>انجام مطالعات و تحقیقات در نوآوری جهت بسته بندی و حمل محصول</a:t>
            </a:r>
          </a:p>
          <a:p>
            <a:pPr marL="342900" lvl="1" indent="-228600" algn="just" rtl="1">
              <a:lnSpc>
                <a:spcPct val="110000"/>
              </a:lnSpc>
              <a:spcBef>
                <a:spcPts val="1200"/>
              </a:spcBef>
              <a:buSzPct val="110000"/>
              <a:buFont typeface="Wingdings"/>
              <a:buChar char="§"/>
              <a:defRPr/>
            </a:pPr>
            <a:r>
              <a:rPr lang="fa-IR" sz="2000" kern="0" dirty="0">
                <a:cs typeface="B Nazanin" pitchFamily="2" charset="-78"/>
              </a:rPr>
              <a:t>بهبود فرآیندهای تحقیق و توسعه شرکت در تولید</a:t>
            </a:r>
            <a:br>
              <a:rPr lang="fa-IR" sz="2000" kern="0" dirty="0">
                <a:cs typeface="B Nazanin" pitchFamily="2" charset="-78"/>
              </a:rPr>
            </a:br>
            <a:r>
              <a:rPr lang="fa-IR" sz="2000" kern="0" dirty="0">
                <a:cs typeface="B Nazanin" pitchFamily="2" charset="-78"/>
              </a:rPr>
              <a:t> و زنجیره عرضه</a:t>
            </a:r>
          </a:p>
          <a:p>
            <a:pPr marL="342900" lvl="1" indent="-228600" algn="just" rtl="1">
              <a:lnSpc>
                <a:spcPct val="110000"/>
              </a:lnSpc>
              <a:spcBef>
                <a:spcPts val="1200"/>
              </a:spcBef>
              <a:buSzPct val="110000"/>
              <a:buFont typeface="Wingdings"/>
              <a:buChar char="§"/>
              <a:defRPr/>
            </a:pPr>
            <a:r>
              <a:rPr lang="fa-IR" sz="2000" kern="0" dirty="0">
                <a:cs typeface="B Nazanin" pitchFamily="2" charset="-78"/>
              </a:rPr>
              <a:t>انجام مطالعات آماری و داده کاوی به منظور </a:t>
            </a:r>
            <a:r>
              <a:rPr lang="fa-IR" sz="2000" kern="0" dirty="0" err="1">
                <a:cs typeface="B Nazanin" pitchFamily="2" charset="-78"/>
              </a:rPr>
              <a:t>مدلسازی</a:t>
            </a:r>
            <a:r>
              <a:rPr lang="fa-IR" sz="2000" kern="0" dirty="0">
                <a:cs typeface="B Nazanin" pitchFamily="2" charset="-78"/>
              </a:rPr>
              <a:t> و</a:t>
            </a:r>
            <a:br>
              <a:rPr lang="fa-IR" sz="2000" kern="0" dirty="0">
                <a:cs typeface="B Nazanin" pitchFamily="2" charset="-78"/>
              </a:rPr>
            </a:br>
            <a:r>
              <a:rPr lang="fa-IR" sz="2000" kern="0" dirty="0">
                <a:cs typeface="B Nazanin" pitchFamily="2" charset="-78"/>
              </a:rPr>
              <a:t> پیش بینی رفتار فرآیند تولید</a:t>
            </a:r>
          </a:p>
          <a:p>
            <a:pPr marL="342900" lvl="1" indent="-228600" algn="just" rtl="1">
              <a:lnSpc>
                <a:spcPct val="110000"/>
              </a:lnSpc>
              <a:spcBef>
                <a:spcPts val="1200"/>
              </a:spcBef>
              <a:buSzPct val="110000"/>
              <a:buFont typeface="Wingdings"/>
              <a:buChar char="§"/>
              <a:defRPr/>
            </a:pPr>
            <a:r>
              <a:rPr lang="fa-IR" sz="2000" kern="0" dirty="0">
                <a:solidFill>
                  <a:srgbClr val="C00000"/>
                </a:solidFill>
                <a:cs typeface="B Nazanin" pitchFamily="2" charset="-78"/>
              </a:rPr>
              <a:t>مشارکت با مرکز تحقیقات وزارت راه و نهادهای دانشگاهی جهت بررسی و بازنگری پهنه بندی جغرافیایی</a:t>
            </a:r>
          </a:p>
          <a:p>
            <a:pPr marL="342900" lvl="1" indent="-228600" algn="just" rtl="1">
              <a:lnSpc>
                <a:spcPct val="110000"/>
              </a:lnSpc>
              <a:spcBef>
                <a:spcPts val="1200"/>
              </a:spcBef>
              <a:buSzPct val="110000"/>
              <a:buFont typeface="Wingdings"/>
              <a:buChar char="§"/>
              <a:defRPr/>
            </a:pPr>
            <a:endParaRPr lang="fa-IR" sz="2000" b="1" kern="0" dirty="0">
              <a:cs typeface="B Nazanin" pitchFamily="2" charset="-78"/>
            </a:endParaRPr>
          </a:p>
          <a:p>
            <a:pPr marL="342900" lvl="1" indent="-228600" algn="r" rtl="1">
              <a:lnSpc>
                <a:spcPct val="110000"/>
              </a:lnSpc>
              <a:spcBef>
                <a:spcPts val="1200"/>
              </a:spcBef>
              <a:buSzPct val="110000"/>
              <a:buFont typeface="Wingdings"/>
              <a:buChar char="§"/>
              <a:defRPr/>
            </a:pPr>
            <a:endParaRPr lang="en-US" sz="2000" b="1" kern="0" dirty="0" smtClean="0">
              <a:cs typeface="B Nazanin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63421517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47649" y="1455678"/>
            <a:ext cx="9401175" cy="794038"/>
          </a:xfrm>
        </p:spPr>
        <p:txBody>
          <a:bodyPr/>
          <a:lstStyle/>
          <a:p>
            <a:r>
              <a:rPr lang="fa-IR" dirty="0"/>
              <a:t>انجام مطالعات فنی و اجرای اقدامات لازم جهت برآورد سازی الزامات زیست محیطی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930550" y="2718563"/>
            <a:ext cx="3653350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fa-IR" sz="2000" b="1" dirty="0" smtClean="0">
                <a:solidFill>
                  <a:schemeClr val="accent5">
                    <a:lumMod val="25000"/>
                  </a:schemeClr>
                </a:solidFill>
                <a:cs typeface="B Nazanin" panose="00000400000000000000" pitchFamily="2" charset="-78"/>
              </a:rPr>
              <a:t>منتهی به </a:t>
            </a:r>
            <a:r>
              <a:rPr lang="fa-IR" sz="2000" b="1" dirty="0">
                <a:solidFill>
                  <a:schemeClr val="accent5">
                    <a:lumMod val="25000"/>
                  </a:schemeClr>
                </a:solidFill>
                <a:cs typeface="B Nazanin" panose="00000400000000000000" pitchFamily="2" charset="-78"/>
              </a:rPr>
              <a:t>آذر </a:t>
            </a:r>
            <a:r>
              <a:rPr lang="fa-IR" sz="2000" b="1" dirty="0" smtClean="0">
                <a:solidFill>
                  <a:schemeClr val="accent5">
                    <a:lumMod val="25000"/>
                  </a:schemeClr>
                </a:solidFill>
                <a:cs typeface="B Nazanin" panose="00000400000000000000" pitchFamily="2" charset="-78"/>
              </a:rPr>
              <a:t>ماه سال 1397</a:t>
            </a:r>
            <a:endParaRPr lang="fa-IR" sz="2000" b="1" dirty="0">
              <a:solidFill>
                <a:schemeClr val="accent5">
                  <a:lumMod val="25000"/>
                </a:schemeClr>
              </a:solidFill>
              <a:cs typeface="B Nazanin" panose="00000400000000000000" pitchFamily="2" charset="-78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747825" y="5461763"/>
            <a:ext cx="2510350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2800" spc="-40" dirty="0" smtClean="0">
                <a:solidFill>
                  <a:srgbClr val="338E89"/>
                </a:solidFill>
                <a:cs typeface="B Nazanin" panose="00000400000000000000" pitchFamily="2" charset="-78"/>
              </a:rPr>
              <a:t>SP97-01-01</a:t>
            </a:r>
            <a:endParaRPr lang="en-US" sz="2800" spc="-40" dirty="0">
              <a:solidFill>
                <a:srgbClr val="338E89"/>
              </a:solidFill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220059569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le 14"/>
          <p:cNvGraphicFramePr>
            <a:graphicFrameLocks noGrp="1"/>
          </p:cNvGraphicFramePr>
          <p:nvPr>
            <p:extLst/>
          </p:nvPr>
        </p:nvGraphicFramePr>
        <p:xfrm>
          <a:off x="614366" y="4129641"/>
          <a:ext cx="4265170" cy="2293200"/>
        </p:xfrm>
        <a:graphic>
          <a:graphicData uri="http://schemas.openxmlformats.org/drawingml/2006/table">
            <a:tbl>
              <a:tblPr rtl="1"/>
              <a:tblGrid>
                <a:gridCol w="42651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4400">
                <a:tc>
                  <a:txBody>
                    <a:bodyPr/>
                    <a:lstStyle/>
                    <a:p>
                      <a:pPr algn="ctr" rtl="1" fontAlgn="ctr">
                        <a:lnSpc>
                          <a:spcPct val="110000"/>
                        </a:lnSpc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روند پیشرفت </a:t>
                      </a:r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جمیعی</a:t>
                      </a:r>
                      <a:r>
                        <a:rPr lang="fa-IR" sz="14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قدام استراتژیک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18800">
                <a:tc>
                  <a:txBody>
                    <a:bodyPr/>
                    <a:lstStyle/>
                    <a:p>
                      <a:pPr marL="57150" indent="0" algn="r" rtl="1" fontAlgn="ctr">
                        <a:lnSpc>
                          <a:spcPct val="110000"/>
                        </a:lnSpc>
                        <a:buFont typeface="Arial" pitchFamily="34" charset="0"/>
                        <a:buNone/>
                      </a:pPr>
                      <a:endParaRPr lang="fa-IR" sz="2200" b="1" i="0" u="none" strike="noStrike" dirty="0" smtClean="0">
                        <a:solidFill>
                          <a:schemeClr val="tx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3103451"/>
              </p:ext>
            </p:extLst>
          </p:nvPr>
        </p:nvGraphicFramePr>
        <p:xfrm>
          <a:off x="4954137" y="1523999"/>
          <a:ext cx="4263102" cy="2540322"/>
        </p:xfrm>
        <a:graphic>
          <a:graphicData uri="http://schemas.openxmlformats.org/drawingml/2006/table">
            <a:tbl>
              <a:tblPr rtl="1"/>
              <a:tblGrid>
                <a:gridCol w="21340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90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136322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نام اقدام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>
                        <a:lnSpc>
                          <a:spcPct val="100000"/>
                        </a:lnSpc>
                      </a:pPr>
                      <a:r>
                        <a:rPr lang="fa-IR" sz="1500" b="0" i="0" u="none" strike="noStrike" kern="1200" dirty="0" smtClean="0">
                          <a:solidFill>
                            <a:schemeClr val="tx1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انجام مطالعات فنی و اجرای اقدامات لازم جهت برآورد سازی الزامات زیست محیطی</a:t>
                      </a:r>
                      <a:endParaRPr lang="en-US" sz="1500" b="0" i="0" u="none" strike="noStrike" kern="1200" dirty="0">
                        <a:solidFill>
                          <a:schemeClr val="tx1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کد اقدام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3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B Nazanin" pitchFamily="2" charset="-78"/>
                        </a:rPr>
                        <a:t>SP97-01-01</a:t>
                      </a:r>
                      <a:endParaRPr lang="en-US" sz="13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هدف استراتژیک مرتبط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r>
                        <a:rPr lang="fa-IR" sz="13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B Nazanin" pitchFamily="2" charset="-78"/>
                        </a:rPr>
                        <a:t>بهبود عملکرد زیست محیطی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9219975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برنامه جامع استراتژیک مرتبط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a-IR" sz="15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B Nazanin"/>
                          <a:ea typeface="+mn-ea"/>
                          <a:cs typeface="B Nazanin" pitchFamily="2" charset="-78"/>
                        </a:rPr>
                        <a:t>مدیریت انرژی و محیط زیست</a:t>
                      </a:r>
                      <a:endParaRPr kumimoji="0" lang="en-US" sz="15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067128"/>
                  </a:ext>
                </a:extLst>
              </a:tr>
            </a:tbl>
          </a:graphicData>
        </a:graphic>
      </p:graphicFrame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306423"/>
              </p:ext>
            </p:extLst>
          </p:nvPr>
        </p:nvGraphicFramePr>
        <p:xfrm>
          <a:off x="614366" y="1521396"/>
          <a:ext cx="4259961" cy="2544995"/>
        </p:xfrm>
        <a:graphic>
          <a:graphicData uri="http://schemas.openxmlformats.org/drawingml/2006/table">
            <a:tbl>
              <a:tblPr rtl="1"/>
              <a:tblGrid>
                <a:gridCol w="21309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90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4295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واحد متولی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مدیریت تحقیق و توسعه</a:t>
                      </a:r>
                      <a:endParaRPr lang="en-US" sz="15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295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نام متولی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0" i="0" u="none" strike="noStrike" kern="1200" dirty="0" err="1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الیاس</a:t>
                      </a:r>
                      <a:r>
                        <a:rPr lang="fa-IR" sz="15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 نیرومند</a:t>
                      </a:r>
                      <a:endParaRPr lang="en-US" sz="15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295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نام مجری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0" i="0" u="none" strike="noStrike" kern="1200" dirty="0" err="1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الیاس</a:t>
                      </a:r>
                      <a:r>
                        <a:rPr lang="fa-IR" sz="15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 نیرومند</a:t>
                      </a:r>
                      <a:endParaRPr lang="en-US" sz="15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7426199"/>
                  </a:ext>
                </a:extLst>
              </a:tr>
              <a:tr h="573520"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یم همکار اقدام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سعید بهنام – علیرضا مختاری</a:t>
                      </a:r>
                      <a:endParaRPr lang="en-US" sz="1500" b="0" i="0" u="none" strike="noStrike" kern="1200" dirty="0" smtClean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6909109"/>
                  </a:ext>
                </a:extLst>
              </a:tr>
              <a:tr h="39429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اريخ</a:t>
                      </a: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شروع (برنامه ای)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1500" b="0" i="0" u="none" strike="noStrike" dirty="0" smtClean="0">
                          <a:solidFill>
                            <a:schemeClr val="tx1"/>
                          </a:solidFill>
                          <a:latin typeface="B Nazanin"/>
                          <a:cs typeface="B Nazanin" pitchFamily="2" charset="-78"/>
                        </a:rPr>
                        <a:t>97/09/15</a:t>
                      </a:r>
                      <a:endParaRPr lang="en-US" sz="1500" b="0" i="0" u="none" strike="noStrike" dirty="0">
                        <a:solidFill>
                          <a:schemeClr val="tx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429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اريخ</a:t>
                      </a: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پایان (برنامه ای)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1500" b="0" i="0" u="none" strike="noStrike" dirty="0" smtClean="0">
                          <a:solidFill>
                            <a:schemeClr val="tx1"/>
                          </a:solidFill>
                          <a:latin typeface="B Nazanin"/>
                          <a:cs typeface="B Nazanin" pitchFamily="2" charset="-78"/>
                        </a:rPr>
                        <a:t>98/09/15</a:t>
                      </a:r>
                      <a:endParaRPr lang="en-US" sz="1500" b="0" i="0" u="none" strike="noStrike" dirty="0">
                        <a:solidFill>
                          <a:schemeClr val="tx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 smtClean="0"/>
              <a:t>وضعیت اجرای اقدام استراتژیک</a:t>
            </a:r>
            <a:endParaRPr lang="fa-IR" dirty="0"/>
          </a:p>
        </p:txBody>
      </p:sp>
      <p:sp>
        <p:nvSpPr>
          <p:cNvPr id="23" name="Rounded Rectangle 22"/>
          <p:cNvSpPr/>
          <p:nvPr/>
        </p:nvSpPr>
        <p:spPr bwMode="auto">
          <a:xfrm>
            <a:off x="4114800" y="910774"/>
            <a:ext cx="5359400" cy="432000"/>
          </a:xfrm>
          <a:prstGeom prst="roundRect">
            <a:avLst>
              <a:gd name="adj" fmla="val 50000"/>
            </a:avLst>
          </a:prstGeom>
          <a:solidFill>
            <a:srgbClr val="C8666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endParaRPr lang="fa-IR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4" name="Title 15"/>
          <p:cNvSpPr txBox="1">
            <a:spLocks/>
          </p:cNvSpPr>
          <p:nvPr/>
        </p:nvSpPr>
        <p:spPr bwMode="auto">
          <a:xfrm>
            <a:off x="4167266" y="909863"/>
            <a:ext cx="4587802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 rtl="1">
              <a:spcBef>
                <a:spcPct val="0"/>
              </a:spcBef>
              <a:defRPr/>
            </a:pPr>
            <a:r>
              <a:rPr lang="fa-IR" sz="2000" b="1" smtClean="0">
                <a:solidFill>
                  <a:srgbClr val="FFFFFF"/>
                </a:solidFill>
                <a:latin typeface="B Nazanin"/>
                <a:cs typeface="B Nazanin" pitchFamily="2" charset="-78"/>
              </a:rPr>
              <a:t>نماي كلي</a:t>
            </a:r>
            <a:endParaRPr lang="fa-IR" sz="2000" b="1" kern="0" spc="-30" smtClean="0">
              <a:solidFill>
                <a:srgbClr val="FFFFFF"/>
              </a:solidFill>
              <a:latin typeface="Arial"/>
              <a:cs typeface="B Nazanin" pitchFamily="2" charset="-78"/>
            </a:endParaRPr>
          </a:p>
        </p:txBody>
      </p:sp>
      <p:pic>
        <p:nvPicPr>
          <p:cNvPr id="26" name="Picture 25" descr="Magnifyer 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819446" y="792681"/>
            <a:ext cx="666000" cy="666000"/>
          </a:xfrm>
          <a:prstGeom prst="rect">
            <a:avLst/>
          </a:prstGeom>
        </p:spPr>
      </p:pic>
      <p:graphicFrame>
        <p:nvGraphicFramePr>
          <p:cNvPr id="43" name="Chart 42"/>
          <p:cNvGraphicFramePr/>
          <p:nvPr>
            <p:extLst>
              <p:ext uri="{D42A27DB-BD31-4B8C-83A1-F6EECF244321}">
                <p14:modId xmlns:p14="http://schemas.microsoft.com/office/powerpoint/2010/main" val="2594389892"/>
              </p:ext>
            </p:extLst>
          </p:nvPr>
        </p:nvGraphicFramePr>
        <p:xfrm>
          <a:off x="631486" y="4533900"/>
          <a:ext cx="4197689" cy="18642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5935475"/>
              </p:ext>
            </p:extLst>
          </p:nvPr>
        </p:nvGraphicFramePr>
        <p:xfrm>
          <a:off x="4954137" y="4129640"/>
          <a:ext cx="4262566" cy="2293200"/>
        </p:xfrm>
        <a:graphic>
          <a:graphicData uri="http://schemas.openxmlformats.org/drawingml/2006/table">
            <a:tbl>
              <a:tblPr rtl="1"/>
              <a:tblGrid>
                <a:gridCol w="14208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20856">
                  <a:extLst>
                    <a:ext uri="{9D8B030D-6E8A-4147-A177-3AD203B41FA5}">
                      <a16:colId xmlns:a16="http://schemas.microsoft.com/office/drawing/2014/main" val="72834989"/>
                    </a:ext>
                  </a:extLst>
                </a:gridCol>
                <a:gridCol w="1420855">
                  <a:extLst>
                    <a:ext uri="{9D8B030D-6E8A-4147-A177-3AD203B41FA5}">
                      <a16:colId xmlns:a16="http://schemas.microsoft.com/office/drawing/2014/main" val="639004351"/>
                    </a:ext>
                  </a:extLst>
                </a:gridCol>
              </a:tblGrid>
              <a:tr h="450352">
                <a:tc gridSpan="3"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وضعیت پیشرفت</a:t>
                      </a:r>
                      <a:r>
                        <a:rPr lang="fa-IR" sz="14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قدام استراتژیک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0179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100% الی 95%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95% الی 85%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E66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85% الی 0%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4223">
                <a:tc gridSpan="2"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درصد پیشرفت </a:t>
                      </a:r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جمیعی</a:t>
                      </a: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برنامه</a:t>
                      </a:r>
                      <a:r>
                        <a:rPr lang="fa-IR" sz="14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ی</a:t>
                      </a:r>
                      <a:endParaRPr lang="fa-IR" sz="14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r>
                        <a:rPr lang="en-US" sz="1600" b="1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55%</a:t>
                      </a:r>
                      <a:endParaRPr lang="en-US" sz="1600" b="1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4223">
                <a:tc gridSpan="2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درصد پیشرفت </a:t>
                      </a:r>
                      <a:r>
                        <a:rPr lang="fa-IR" sz="1400" b="1" i="0" u="none" strike="noStrike" dirty="0" err="1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جمیعی</a:t>
                      </a: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واقعی</a:t>
                      </a: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r>
                        <a:rPr lang="en-US" sz="1600" b="1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55</a:t>
                      </a:r>
                      <a:r>
                        <a:rPr lang="fa-IR" sz="1600" b="1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%</a:t>
                      </a:r>
                      <a:endParaRPr lang="en-US" sz="1600" b="1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2422588"/>
                  </a:ext>
                </a:extLst>
              </a:tr>
              <a:tr h="474223">
                <a:tc gridSpan="2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درصد</a:t>
                      </a:r>
                      <a:r>
                        <a:rPr lang="fa-IR" sz="14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تحقق برنامه</a:t>
                      </a:r>
                    </a:p>
                    <a:p>
                      <a:pPr marL="0" marR="0" lvl="0" indent="0" algn="ctr" defTabSz="914400" rtl="1" eaLnBrk="1" fontAlgn="ctr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100" b="1" i="0" u="none" strike="noStrike" spc="0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(پیشرفت واقعی تقسیم بر پیشرفت برنامه ای)</a:t>
                      </a:r>
                    </a:p>
                  </a:txBody>
                  <a:tcPr marL="0" marR="72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1" eaLnBrk="1" fontAlgn="ctr" latinLnBrk="0" hangingPunct="1"/>
                      <a:r>
                        <a:rPr lang="fa-IR" sz="1600" b="1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100%</a:t>
                      </a:r>
                      <a:endParaRPr lang="en-US" sz="1600" b="1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0" marR="7200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BB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0925430"/>
                  </a:ext>
                </a:extLst>
              </a:tr>
            </a:tbl>
          </a:graphicData>
        </a:graphic>
      </p:graphicFrame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79065594"/>
              </p:ext>
            </p:extLst>
          </p:nvPr>
        </p:nvGraphicFramePr>
        <p:xfrm>
          <a:off x="534556" y="95610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3" name="Worksheet" showAsIcon="1" r:id="rId5" imgW="914400" imgH="771480" progId="Excel.Sheet.12">
                  <p:embed/>
                </p:oleObj>
              </mc:Choice>
              <mc:Fallback>
                <p:oleObj name="Worksheet" showAsIcon="1" r:id="rId5" imgW="914400" imgH="771480" progId="Excel.Sheet.12">
                  <p:embed/>
                  <p:pic>
                    <p:nvPicPr>
                      <p:cNvPr id="0" name="Picture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4556" y="956100"/>
                        <a:ext cx="914400" cy="7715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07237720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ounded Rectangle 18"/>
          <p:cNvSpPr/>
          <p:nvPr/>
        </p:nvSpPr>
        <p:spPr bwMode="auto">
          <a:xfrm>
            <a:off x="4114800" y="910774"/>
            <a:ext cx="5172075" cy="432000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Title 15"/>
          <p:cNvSpPr txBox="1">
            <a:spLocks/>
          </p:cNvSpPr>
          <p:nvPr/>
        </p:nvSpPr>
        <p:spPr bwMode="auto">
          <a:xfrm>
            <a:off x="4167266" y="909863"/>
            <a:ext cx="4587802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r" rtl="1">
              <a:spcBef>
                <a:spcPct val="0"/>
              </a:spcBef>
              <a:defRPr/>
            </a:pPr>
            <a:r>
              <a:rPr lang="fa-IR" sz="2000" b="1" kern="0" spc="-30" smtClean="0">
                <a:solidFill>
                  <a:schemeClr val="bg1"/>
                </a:solidFill>
                <a:latin typeface="+mj-lt"/>
                <a:ea typeface="+mj-ea"/>
                <a:cs typeface="B Nazanin" pitchFamily="2" charset="-78"/>
              </a:rPr>
              <a:t>نماي تفصيلي</a:t>
            </a:r>
          </a:p>
        </p:txBody>
      </p:sp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/>
              <a:t>وضعیت اجرای اقدام استراتژیک</a:t>
            </a:r>
          </a:p>
        </p:txBody>
      </p:sp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1982956"/>
              </p:ext>
            </p:extLst>
          </p:nvPr>
        </p:nvGraphicFramePr>
        <p:xfrm>
          <a:off x="230692" y="1626889"/>
          <a:ext cx="9438288" cy="3958162"/>
        </p:xfrm>
        <a:graphic>
          <a:graphicData uri="http://schemas.openxmlformats.org/drawingml/2006/table">
            <a:tbl>
              <a:tblPr rtl="1"/>
              <a:tblGrid>
                <a:gridCol w="4763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60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35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1761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53127">
                  <a:extLst>
                    <a:ext uri="{9D8B030D-6E8A-4147-A177-3AD203B41FA5}">
                      <a16:colId xmlns:a16="http://schemas.microsoft.com/office/drawing/2014/main" val="2813668953"/>
                    </a:ext>
                  </a:extLst>
                </a:gridCol>
                <a:gridCol w="2694281">
                  <a:extLst>
                    <a:ext uri="{9D8B030D-6E8A-4147-A177-3AD203B41FA5}">
                      <a16:colId xmlns:a16="http://schemas.microsoft.com/office/drawing/2014/main" val="1795941034"/>
                    </a:ext>
                  </a:extLst>
                </a:gridCol>
                <a:gridCol w="678662">
                  <a:extLst>
                    <a:ext uri="{9D8B030D-6E8A-4147-A177-3AD203B41FA5}">
                      <a16:colId xmlns:a16="http://schemas.microsoft.com/office/drawing/2014/main" val="250335139"/>
                    </a:ext>
                  </a:extLst>
                </a:gridCol>
                <a:gridCol w="67866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498884">
                <a:tc rowSpan="2"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رديف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70C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1" fontAlgn="ctr"/>
                      <a:r>
                        <a:rPr lang="fa-IR" sz="15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طرح اجرایی اقدام استراتژیک</a:t>
                      </a:r>
                      <a:endParaRPr lang="fa-IR" sz="15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1" fontAlgn="ctr"/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3E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1" fontAlgn="ctr"/>
                      <a:endParaRPr lang="fa-IR" sz="15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1"/>
                      <a:r>
                        <a:rPr lang="fa-IR" sz="1500" b="1" i="0" u="none" strike="noStrike" kern="1200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ea typeface="+mn-ea"/>
                          <a:cs typeface="B Nazanin" pitchFamily="2" charset="-78"/>
                        </a:rPr>
                        <a:t>وضعیت اجرای اقدام استراتژیک</a:t>
                      </a:r>
                      <a:endParaRPr lang="fa-IR" sz="1500" b="1" i="0" u="none" strike="noStrike" kern="1200" dirty="0">
                        <a:solidFill>
                          <a:srgbClr val="FFFFFF"/>
                        </a:solidFill>
                        <a:effectLst/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8884">
                <a:tc vMerge="1">
                  <a:txBody>
                    <a:bodyPr/>
                    <a:lstStyle/>
                    <a:p>
                      <a:pPr rtl="1"/>
                      <a:endParaRPr lang="fa-I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فعالیت های اصلی اقدام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درصد وزن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خروجی قابل تحویل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زمان تحویل</a:t>
                      </a:r>
                    </a:p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(برنامه ای)</a:t>
                      </a:r>
                      <a:endParaRPr lang="fa-IR" sz="1400" b="1" i="0" u="none" strike="noStrike" dirty="0">
                        <a:solidFill>
                          <a:srgbClr val="FFFFFF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خروجی تحویل شده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زمان تحویل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درصد تحقق فعالیت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DC7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097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effectLst/>
                          <a:latin typeface="B Nazanin"/>
                          <a:cs typeface="B Nazanin" pitchFamily="2" charset="-78"/>
                        </a:rPr>
                        <a:t>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جمع آوری اطلاعات مورد نیاز مربوط به کوره ها و خوراک ورودی به آن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5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فهرست اطلاعات جمع آوری شده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09/3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اطلاعات جمع آوری شده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09/30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5%</a:t>
                      </a:r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097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effectLst/>
                          <a:latin typeface="B Nazanin"/>
                          <a:cs typeface="B Nazanin" pitchFamily="2" charset="-78"/>
                        </a:rPr>
                        <a:t>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خرید آنالایزر پرتابل و ایجاد نقاط نمونه برداری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15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خرید آنالایزر و ایجاد نقاط نمونه برداری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11/3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آنالایزر</a:t>
                      </a:r>
                      <a:r>
                        <a:rPr lang="fa-IR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 پرتابل و داده های استخراج شده از دستگاه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10/15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15%</a:t>
                      </a:r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097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effectLst/>
                          <a:latin typeface="B Nazanin"/>
                          <a:cs typeface="B Nazanin" pitchFamily="2" charset="-78"/>
                        </a:rPr>
                        <a:t>3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مطالعه کیفیت احتراق در کوره های مازادسوز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10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گزارش نهایی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7/12/3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گزارش مشاور</a:t>
                      </a:r>
                      <a:r>
                        <a:rPr lang="fa-IR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 فنی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97/12/15</a:t>
                      </a:r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10%</a:t>
                      </a:r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74248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effectLst/>
                          <a:latin typeface="B Nazanin"/>
                          <a:cs typeface="B Nazanin" pitchFamily="2" charset="-78"/>
                        </a:rPr>
                        <a:t>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ایجاد تغییرات فرآیندی جهت کاهش الایندگی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25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ارائه نتایج کاهش آلایندگی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8/03/3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گزارش واحد</a:t>
                      </a:r>
                      <a:r>
                        <a:rPr lang="fa-IR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 تحقیق و توسعه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98/03/30</a:t>
                      </a:r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1500" b="0" i="0" u="none" strike="noStrike" dirty="0" smtClean="0">
                          <a:effectLst/>
                          <a:latin typeface="B Nazanin"/>
                          <a:cs typeface="B Nazanin" pitchFamily="2" charset="-78"/>
                        </a:rPr>
                        <a:t>25%</a:t>
                      </a:r>
                      <a:endParaRPr lang="fa-IR" sz="1500" b="0" i="0" u="none" strike="noStrike" dirty="0"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0619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effectLst/>
                          <a:latin typeface="B Nazanin"/>
                          <a:cs typeface="B Nazanin" pitchFamily="2" charset="-78"/>
                        </a:rPr>
                        <a:t>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ایجاد تغییرات برای </a:t>
                      </a:r>
                      <a:r>
                        <a:rPr lang="fa-IR" sz="13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اینسینریتور</a:t>
                      </a:r>
                      <a:r>
                        <a:rPr lang="fa-I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 جهت کاهش </a:t>
                      </a:r>
                      <a:r>
                        <a:rPr lang="fa-IR" sz="13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آلایندگی</a:t>
                      </a:r>
                      <a:endParaRPr lang="fa-IR" sz="1300" b="1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45%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ارائه نتایج کاهش </a:t>
                      </a:r>
                      <a:r>
                        <a:rPr lang="fa-IR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آلایندگی</a:t>
                      </a:r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98/09/1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400" b="0" i="0" u="none" strike="noStrike" dirty="0">
                        <a:solidFill>
                          <a:srgbClr val="000000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/>
                      <a:endParaRPr lang="fa-IR" sz="1500" dirty="0"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/>
                      <a:endParaRPr lang="fa-IR" sz="1500" dirty="0"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0975">
                <a:tc gridSpan="2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5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مجموع</a:t>
                      </a: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3E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5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 panose="00000400000000000000" pitchFamily="2" charset="-78"/>
                          <a:cs typeface="B Nazanin" panose="00000400000000000000" pitchFamily="2" charset="-78"/>
                        </a:rPr>
                        <a:t>100%</a:t>
                      </a: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 panose="00000400000000000000" pitchFamily="2" charset="-78"/>
                        <a:cs typeface="B Nazanin" panose="00000400000000000000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500" b="0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endParaRPr lang="fa-IR" sz="1500" b="0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1" fontAlgn="ctr"/>
                      <a:r>
                        <a:rPr lang="fa-IR" sz="15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مجموع</a:t>
                      </a: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rtl="1" fontAlgn="ctr"/>
                      <a:endParaRPr lang="fa-IR" sz="1500" b="0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en-US" sz="15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55</a:t>
                      </a:r>
                      <a:r>
                        <a:rPr lang="fa-IR" sz="15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B Nazanin"/>
                          <a:cs typeface="B Nazanin" pitchFamily="2" charset="-78"/>
                        </a:rPr>
                        <a:t>%</a:t>
                      </a:r>
                      <a:endParaRPr lang="fa-IR" sz="1500" b="1" i="0" u="none" strike="noStrike" dirty="0">
                        <a:solidFill>
                          <a:schemeClr val="bg1"/>
                        </a:solidFill>
                        <a:effectLst/>
                        <a:latin typeface="B Nazanin"/>
                        <a:cs typeface="B Nazanin" pitchFamily="2" charset="-78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B0F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256993"/>
                  </a:ext>
                </a:extLst>
              </a:tr>
            </a:tbl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0041" y="792681"/>
            <a:ext cx="664809" cy="66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561651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09" name="Picture 1" descr="C:\Documents and Settings\Khanbabaie_F\Desktop\16915464-breaking-trend-with-five-why-methodology-modern-six-sigma-concept copy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8512" y="471180"/>
            <a:ext cx="2237447" cy="1186538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12" name="Table 11"/>
          <p:cNvGraphicFramePr>
            <a:graphicFrameLocks noGrp="1"/>
          </p:cNvGraphicFramePr>
          <p:nvPr>
            <p:extLst/>
          </p:nvPr>
        </p:nvGraphicFramePr>
        <p:xfrm>
          <a:off x="819624" y="1692165"/>
          <a:ext cx="8654576" cy="4708635"/>
        </p:xfrm>
        <a:graphic>
          <a:graphicData uri="http://schemas.openxmlformats.org/drawingml/2006/table">
            <a:tbl>
              <a:tblPr rtl="1"/>
              <a:tblGrid>
                <a:gridCol w="86545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20500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6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تحلیل ریشه ای انحراف اجرای اقدام</a:t>
                      </a:r>
                      <a:r>
                        <a:rPr lang="fa-IR" sz="16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ز برنامه</a:t>
                      </a:r>
                      <a:endParaRPr lang="fa-IR" sz="16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1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9525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2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3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4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5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4055">
                <a:tc>
                  <a:txBody>
                    <a:bodyPr/>
                    <a:lstStyle/>
                    <a:p>
                      <a:pPr algn="ctr" rtl="1" fontAlgn="ctr"/>
                      <a:r>
                        <a:rPr lang="fa-IR" sz="1600" b="1" i="0" u="none" strike="noStrike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چالش های اصلی اجرای اقدام</a:t>
                      </a:r>
                      <a:r>
                        <a:rPr lang="fa-IR" sz="1600" b="1" i="0" u="none" strike="noStrike" baseline="0" dirty="0" smtClean="0">
                          <a:solidFill>
                            <a:schemeClr val="bg1"/>
                          </a:solidFill>
                          <a:latin typeface="B Nazanin"/>
                          <a:cs typeface="B Nazanin" pitchFamily="2" charset="-78"/>
                        </a:rPr>
                        <a:t> استراتژیک</a:t>
                      </a:r>
                      <a:endParaRPr lang="fa-IR" sz="1600" b="1" i="0" u="none" strike="noStrike" dirty="0">
                        <a:solidFill>
                          <a:schemeClr val="bg1"/>
                        </a:solidFill>
                        <a:latin typeface="B Nazanin"/>
                        <a:cs typeface="B Nazanin" pitchFamily="2" charset="-78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5435803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1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4544636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2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1111933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3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4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408">
                <a:tc>
                  <a:txBody>
                    <a:bodyPr/>
                    <a:lstStyle/>
                    <a:p>
                      <a:pPr marL="0" algn="r" defTabSz="914400" rtl="1" eaLnBrk="1" fontAlgn="ctr" latinLnBrk="0" hangingPunct="1"/>
                      <a:r>
                        <a:rPr lang="fa-IR" sz="1400" b="0" i="0" u="none" strike="noStrike" kern="1200" dirty="0" smtClean="0">
                          <a:solidFill>
                            <a:srgbClr val="000000"/>
                          </a:solidFill>
                          <a:latin typeface="B Nazanin"/>
                          <a:ea typeface="+mn-ea"/>
                          <a:cs typeface="B Nazanin" pitchFamily="2" charset="-78"/>
                        </a:rPr>
                        <a:t>5- 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B Nazanin"/>
                        <a:ea typeface="+mn-ea"/>
                        <a:cs typeface="B Nazanin" pitchFamily="2" charset="-78"/>
                      </a:endParaRPr>
                    </a:p>
                  </a:txBody>
                  <a:tcPr marL="108000" marR="108000" marT="0" marB="0" anchor="ctr">
                    <a:lnL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7DC7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/>
              <a:t>وضعیت اجرای اقدام استراتژیک</a:t>
            </a:r>
          </a:p>
        </p:txBody>
      </p:sp>
      <p:sp>
        <p:nvSpPr>
          <p:cNvPr id="10" name="Rounded Rectangle 9"/>
          <p:cNvSpPr/>
          <p:nvPr/>
        </p:nvSpPr>
        <p:spPr bwMode="auto">
          <a:xfrm>
            <a:off x="4114800" y="910774"/>
            <a:ext cx="5359400" cy="432000"/>
          </a:xfrm>
          <a:prstGeom prst="roundRect">
            <a:avLst>
              <a:gd name="adj" fmla="val 50000"/>
            </a:avLst>
          </a:prstGeom>
          <a:solidFill>
            <a:srgbClr val="33CCFF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5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a-IR" sz="13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Title 15"/>
          <p:cNvSpPr txBox="1">
            <a:spLocks/>
          </p:cNvSpPr>
          <p:nvPr/>
        </p:nvSpPr>
        <p:spPr bwMode="auto">
          <a:xfrm>
            <a:off x="4167266" y="909863"/>
            <a:ext cx="4587802" cy="43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r" rtl="1">
              <a:spcBef>
                <a:spcPct val="0"/>
              </a:spcBef>
              <a:defRPr/>
            </a:pPr>
            <a:r>
              <a:rPr lang="fa-IR" sz="2000" b="1" kern="0" spc="-30" dirty="0" smtClean="0">
                <a:solidFill>
                  <a:schemeClr val="bg1"/>
                </a:solidFill>
                <a:latin typeface="+mj-lt"/>
                <a:ea typeface="+mj-ea"/>
                <a:cs typeface="B Nazanin" pitchFamily="2" charset="-78"/>
              </a:rPr>
              <a:t>تحلیل روند اجرای اقدام استراتژیک</a:t>
            </a:r>
          </a:p>
        </p:txBody>
      </p:sp>
      <p:pic>
        <p:nvPicPr>
          <p:cNvPr id="14" name="Picture 13" descr="Trend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820148" y="793748"/>
            <a:ext cx="666000" cy="66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7981163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47649" y="1455678"/>
            <a:ext cx="9401175" cy="794038"/>
          </a:xfrm>
        </p:spPr>
        <p:txBody>
          <a:bodyPr/>
          <a:lstStyle/>
          <a:p>
            <a:r>
              <a:rPr lang="fa-IR" spc="-40" dirty="0"/>
              <a:t>بازنگری نقشه راه تحقیق و توسعه در راستای </a:t>
            </a:r>
            <a:r>
              <a:rPr lang="fa-IR" spc="-40" dirty="0" err="1" smtClean="0"/>
              <a:t>استراتژی‌های</a:t>
            </a:r>
            <a:r>
              <a:rPr lang="fa-IR" spc="-40" dirty="0" smtClean="0"/>
              <a:t> </a:t>
            </a:r>
            <a:r>
              <a:rPr lang="fa-IR" spc="-40" dirty="0"/>
              <a:t>جدید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930550" y="2718563"/>
            <a:ext cx="3653350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fa-IR" sz="2000" b="1" dirty="0" smtClean="0">
                <a:solidFill>
                  <a:schemeClr val="accent5">
                    <a:lumMod val="25000"/>
                  </a:schemeClr>
                </a:solidFill>
                <a:cs typeface="B Nazanin" panose="00000400000000000000" pitchFamily="2" charset="-78"/>
              </a:rPr>
              <a:t>منتهی به </a:t>
            </a:r>
            <a:r>
              <a:rPr lang="fa-IR" sz="2000" b="1" dirty="0">
                <a:solidFill>
                  <a:schemeClr val="accent5">
                    <a:lumMod val="25000"/>
                  </a:schemeClr>
                </a:solidFill>
                <a:cs typeface="B Nazanin" panose="00000400000000000000" pitchFamily="2" charset="-78"/>
              </a:rPr>
              <a:t>آذر </a:t>
            </a:r>
            <a:r>
              <a:rPr lang="fa-IR" sz="2000" b="1" dirty="0" smtClean="0">
                <a:solidFill>
                  <a:schemeClr val="accent5">
                    <a:lumMod val="25000"/>
                  </a:schemeClr>
                </a:solidFill>
                <a:cs typeface="B Nazanin" panose="00000400000000000000" pitchFamily="2" charset="-78"/>
              </a:rPr>
              <a:t>ماه سال 1397</a:t>
            </a:r>
            <a:endParaRPr lang="fa-IR" sz="2000" b="1" dirty="0">
              <a:solidFill>
                <a:schemeClr val="accent5">
                  <a:lumMod val="25000"/>
                </a:schemeClr>
              </a:solidFill>
              <a:cs typeface="B Nazanin" panose="00000400000000000000" pitchFamily="2" charset="-78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747825" y="5461763"/>
            <a:ext cx="2510350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2800" spc="-40" dirty="0">
                <a:solidFill>
                  <a:srgbClr val="338E89"/>
                </a:solidFill>
                <a:cs typeface="B Nazanin" panose="00000400000000000000" pitchFamily="2" charset="-78"/>
              </a:rPr>
              <a:t>SP97-06-01</a:t>
            </a:r>
          </a:p>
        </p:txBody>
      </p:sp>
    </p:spTree>
    <p:extLst>
      <p:ext uri="{BB962C8B-B14F-4D97-AF65-F5344CB8AC3E}">
        <p14:creationId xmlns:p14="http://schemas.microsoft.com/office/powerpoint/2010/main" val="2411239157"/>
      </p:ext>
    </p:extLst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8V7tMfY0a0l8EqXZXOt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8V7tMfY0a0l8EqXZXO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8V7tMfY0a0l8EqXZXOtw"/>
</p:tagLst>
</file>

<file path=ppt/theme/theme1.xml><?xml version="1.0" encoding="utf-8"?>
<a:theme xmlns:a="http://schemas.openxmlformats.org/drawingml/2006/main" name="Palladium_Template_8-10-05">
  <a:themeElements>
    <a:clrScheme name="Palladium_Template_8-10-05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alladium_Template_8-10-0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solidFill>
            <a:srgbClr val="587993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35000"/>
          </a:spcBef>
          <a:spcAft>
            <a:spcPct val="0"/>
          </a:spcAft>
          <a:buClrTx/>
          <a:buSzTx/>
          <a:buFontTx/>
          <a:buNone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solidFill>
            <a:srgbClr val="587993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35000"/>
          </a:spcBef>
          <a:spcAft>
            <a:spcPct val="0"/>
          </a:spcAft>
          <a:buClrTx/>
          <a:buSzTx/>
          <a:buFontTx/>
          <a:buNone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alladium_Template_8-10-0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alladium_Template_8-10-05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alladium_Template_8-10-05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alladium_Template_8-10-05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alladium_Template_8-10-05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alladium_Template_8-10-05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alladium_Template_8-10-05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alladium_Template_8-10-05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alladium_Template_8-10-05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alladium_Template_8-10-05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alladium_Template_8-10-05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alladium_Template_8-10-05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alladium_Template_8-10-05 13">
        <a:dk1>
          <a:srgbClr val="000000"/>
        </a:dk1>
        <a:lt1>
          <a:srgbClr val="FFFFFF"/>
        </a:lt1>
        <a:dk2>
          <a:srgbClr val="003399"/>
        </a:dk2>
        <a:lt2>
          <a:srgbClr val="808080"/>
        </a:lt2>
        <a:accent1>
          <a:srgbClr val="006666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B8B8"/>
        </a:accent5>
        <a:accent6>
          <a:srgbClr val="E78A00"/>
        </a:accent6>
        <a:hlink>
          <a:srgbClr val="009999"/>
        </a:hlink>
        <a:folHlink>
          <a:srgbClr val="CC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alladium_Template_8-10-05 14">
        <a:dk1>
          <a:srgbClr val="000000"/>
        </a:dk1>
        <a:lt1>
          <a:srgbClr val="FFFFFF"/>
        </a:lt1>
        <a:dk2>
          <a:srgbClr val="808080"/>
        </a:dk2>
        <a:lt2>
          <a:srgbClr val="66788E"/>
        </a:lt2>
        <a:accent1>
          <a:srgbClr val="1E7257"/>
        </a:accent1>
        <a:accent2>
          <a:srgbClr val="688219"/>
        </a:accent2>
        <a:accent3>
          <a:srgbClr val="FFFFFF"/>
        </a:accent3>
        <a:accent4>
          <a:srgbClr val="000000"/>
        </a:accent4>
        <a:accent5>
          <a:srgbClr val="ABBCB4"/>
        </a:accent5>
        <a:accent6>
          <a:srgbClr val="5E7516"/>
        </a:accent6>
        <a:hlink>
          <a:srgbClr val="53BABE"/>
        </a:hlink>
        <a:folHlink>
          <a:srgbClr val="CBE22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alladium_Template_8-10-05 15">
        <a:dk1>
          <a:srgbClr val="587993"/>
        </a:dk1>
        <a:lt1>
          <a:srgbClr val="FFFFFF"/>
        </a:lt1>
        <a:dk2>
          <a:srgbClr val="000000"/>
        </a:dk2>
        <a:lt2>
          <a:srgbClr val="909090"/>
        </a:lt2>
        <a:accent1>
          <a:srgbClr val="738C7E"/>
        </a:accent1>
        <a:accent2>
          <a:srgbClr val="53BABE"/>
        </a:accent2>
        <a:accent3>
          <a:srgbClr val="FFFFFF"/>
        </a:accent3>
        <a:accent4>
          <a:srgbClr val="4A667D"/>
        </a:accent4>
        <a:accent5>
          <a:srgbClr val="BCC5C0"/>
        </a:accent5>
        <a:accent6>
          <a:srgbClr val="4AA8AC"/>
        </a:accent6>
        <a:hlink>
          <a:srgbClr val="1E7257"/>
        </a:hlink>
        <a:folHlink>
          <a:srgbClr val="CBE22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alladium_Template_8-10-05 16">
        <a:dk1>
          <a:srgbClr val="000000"/>
        </a:dk1>
        <a:lt1>
          <a:srgbClr val="FFFFFF"/>
        </a:lt1>
        <a:dk2>
          <a:srgbClr val="587993"/>
        </a:dk2>
        <a:lt2>
          <a:srgbClr val="909090"/>
        </a:lt2>
        <a:accent1>
          <a:srgbClr val="738C7E"/>
        </a:accent1>
        <a:accent2>
          <a:srgbClr val="53BABE"/>
        </a:accent2>
        <a:accent3>
          <a:srgbClr val="FFFFFF"/>
        </a:accent3>
        <a:accent4>
          <a:srgbClr val="000000"/>
        </a:accent4>
        <a:accent5>
          <a:srgbClr val="BCC5C0"/>
        </a:accent5>
        <a:accent6>
          <a:srgbClr val="4AA8AC"/>
        </a:accent6>
        <a:hlink>
          <a:srgbClr val="1E7257"/>
        </a:hlink>
        <a:folHlink>
          <a:srgbClr val="CBE22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Palladium_Template_8-10-05">
  <a:themeElements>
    <a:clrScheme name="Palladium_Template_8-10-05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alladium_Template_8-10-0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solidFill>
            <a:srgbClr val="587993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35000"/>
          </a:spcBef>
          <a:spcAft>
            <a:spcPct val="0"/>
          </a:spcAft>
          <a:buClrTx/>
          <a:buSzTx/>
          <a:buFontTx/>
          <a:buNone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solidFill>
            <a:srgbClr val="587993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35000"/>
          </a:spcBef>
          <a:spcAft>
            <a:spcPct val="0"/>
          </a:spcAft>
          <a:buClrTx/>
          <a:buSzTx/>
          <a:buFontTx/>
          <a:buNone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alladium_Template_8-10-0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alladium_Template_8-10-05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alladium_Template_8-10-05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alladium_Template_8-10-05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alladium_Template_8-10-05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alladium_Template_8-10-05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alladium_Template_8-10-05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alladium_Template_8-10-05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alladium_Template_8-10-05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alladium_Template_8-10-05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alladium_Template_8-10-05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alladium_Template_8-10-05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alladium_Template_8-10-05 13">
        <a:dk1>
          <a:srgbClr val="000000"/>
        </a:dk1>
        <a:lt1>
          <a:srgbClr val="FFFFFF"/>
        </a:lt1>
        <a:dk2>
          <a:srgbClr val="003399"/>
        </a:dk2>
        <a:lt2>
          <a:srgbClr val="808080"/>
        </a:lt2>
        <a:accent1>
          <a:srgbClr val="006666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B8B8"/>
        </a:accent5>
        <a:accent6>
          <a:srgbClr val="E78A00"/>
        </a:accent6>
        <a:hlink>
          <a:srgbClr val="009999"/>
        </a:hlink>
        <a:folHlink>
          <a:srgbClr val="CC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alladium_Template_8-10-05 14">
        <a:dk1>
          <a:srgbClr val="000000"/>
        </a:dk1>
        <a:lt1>
          <a:srgbClr val="FFFFFF"/>
        </a:lt1>
        <a:dk2>
          <a:srgbClr val="808080"/>
        </a:dk2>
        <a:lt2>
          <a:srgbClr val="66788E"/>
        </a:lt2>
        <a:accent1>
          <a:srgbClr val="1E7257"/>
        </a:accent1>
        <a:accent2>
          <a:srgbClr val="688219"/>
        </a:accent2>
        <a:accent3>
          <a:srgbClr val="FFFFFF"/>
        </a:accent3>
        <a:accent4>
          <a:srgbClr val="000000"/>
        </a:accent4>
        <a:accent5>
          <a:srgbClr val="ABBCB4"/>
        </a:accent5>
        <a:accent6>
          <a:srgbClr val="5E7516"/>
        </a:accent6>
        <a:hlink>
          <a:srgbClr val="53BABE"/>
        </a:hlink>
        <a:folHlink>
          <a:srgbClr val="CBE22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alladium_Template_8-10-05 15">
        <a:dk1>
          <a:srgbClr val="587993"/>
        </a:dk1>
        <a:lt1>
          <a:srgbClr val="FFFFFF"/>
        </a:lt1>
        <a:dk2>
          <a:srgbClr val="000000"/>
        </a:dk2>
        <a:lt2>
          <a:srgbClr val="909090"/>
        </a:lt2>
        <a:accent1>
          <a:srgbClr val="738C7E"/>
        </a:accent1>
        <a:accent2>
          <a:srgbClr val="53BABE"/>
        </a:accent2>
        <a:accent3>
          <a:srgbClr val="FFFFFF"/>
        </a:accent3>
        <a:accent4>
          <a:srgbClr val="4A667D"/>
        </a:accent4>
        <a:accent5>
          <a:srgbClr val="BCC5C0"/>
        </a:accent5>
        <a:accent6>
          <a:srgbClr val="4AA8AC"/>
        </a:accent6>
        <a:hlink>
          <a:srgbClr val="1E7257"/>
        </a:hlink>
        <a:folHlink>
          <a:srgbClr val="CBE22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alladium_Template_8-10-05 16">
        <a:dk1>
          <a:srgbClr val="000000"/>
        </a:dk1>
        <a:lt1>
          <a:srgbClr val="FFFFFF"/>
        </a:lt1>
        <a:dk2>
          <a:srgbClr val="587993"/>
        </a:dk2>
        <a:lt2>
          <a:srgbClr val="909090"/>
        </a:lt2>
        <a:accent1>
          <a:srgbClr val="738C7E"/>
        </a:accent1>
        <a:accent2>
          <a:srgbClr val="53BABE"/>
        </a:accent2>
        <a:accent3>
          <a:srgbClr val="FFFFFF"/>
        </a:accent3>
        <a:accent4>
          <a:srgbClr val="000000"/>
        </a:accent4>
        <a:accent5>
          <a:srgbClr val="BCC5C0"/>
        </a:accent5>
        <a:accent6>
          <a:srgbClr val="4AA8AC"/>
        </a:accent6>
        <a:hlink>
          <a:srgbClr val="1E7257"/>
        </a:hlink>
        <a:folHlink>
          <a:srgbClr val="CBE22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سند" ma:contentTypeID="0x010100D6C2980BA6FC5847AA579EF7E63BE7F7" ma:contentTypeVersion="2" ma:contentTypeDescription="ایجاد یک سند جدید." ma:contentTypeScope="" ma:versionID="14e47c9a67891572256ba74652a4ed4a">
  <xsd:schema xmlns:xsd="http://www.w3.org/2001/XMLSchema" xmlns:xs="http://www.w3.org/2001/XMLSchema" xmlns:p="http://schemas.microsoft.com/office/2006/metadata/properties" xmlns:ns2="a7ddd739-56c6-439f-b59f-5f7abe7bb444" targetNamespace="http://schemas.microsoft.com/office/2006/metadata/properties" ma:root="true" ma:fieldsID="194ff53f6065bbffe421294112b2192b" ns2:_="">
    <xsd:import namespace="a7ddd739-56c6-439f-b59f-5f7abe7bb444"/>
    <xsd:element name="properties">
      <xsd:complexType>
        <xsd:sequence>
          <xsd:element name="documentManagement">
            <xsd:complexType>
              <xsd:all>
                <xsd:element ref="ns2:_x062a__x0648__x0636__x06cc__x062d__x0627__x062a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ddd739-56c6-439f-b59f-5f7abe7bb444" elementFormDefault="qualified">
    <xsd:import namespace="http://schemas.microsoft.com/office/2006/documentManagement/types"/>
    <xsd:import namespace="http://schemas.microsoft.com/office/infopath/2007/PartnerControls"/>
    <xsd:element name="_x062a__x0648__x0636__x06cc__x062d__x0627__x062a_" ma:index="8" nillable="true" ma:displayName="توضیحات" ma:internalName="_x062a__x0648__x0636__x06cc__x062d__x0627__x062a_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نوع محتوا"/>
        <xsd:element ref="dc:title" minOccurs="0" maxOccurs="1" ma:index="4" ma:displayName="عنوان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>
    <_x062a__x0648__x0636__x06cc__x062d__x0627__x062a_ xmlns="a7ddd739-56c6-439f-b59f-5f7abe7bb444" xsi:nil="true"/>
  </documentManagement>
</p:properties>
</file>

<file path=customXml/itemProps1.xml><?xml version="1.0" encoding="utf-8"?>
<ds:datastoreItem xmlns:ds="http://schemas.openxmlformats.org/officeDocument/2006/customXml" ds:itemID="{F3124824-6492-4ADE-9841-B8E68E12147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1297ED8-0106-4D28-A6CE-753CCFB0C80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ddd739-56c6-439f-b59f-5f7abe7bb4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0DE7082-4BAA-4A38-8107-E182C30C3A91}">
  <ds:schemaRefs>
    <ds:schemaRef ds:uri="http://purl.org/dc/terms/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a7ddd739-56c6-439f-b59f-5f7abe7bb444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3322</TotalTime>
  <Words>3038</Words>
  <Application>Microsoft Office PowerPoint</Application>
  <PresentationFormat>A4 Paper (210x297 mm)</PresentationFormat>
  <Paragraphs>772</Paragraphs>
  <Slides>3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4" baseType="lpstr">
      <vt:lpstr>Arial</vt:lpstr>
      <vt:lpstr>Arial Narrow</vt:lpstr>
      <vt:lpstr>B Nazanin</vt:lpstr>
      <vt:lpstr>Calibri</vt:lpstr>
      <vt:lpstr>Times</vt:lpstr>
      <vt:lpstr>Times New Roman</vt:lpstr>
      <vt:lpstr>Wingdings</vt:lpstr>
      <vt:lpstr>Wingdings 3</vt:lpstr>
      <vt:lpstr>Palladium_Template_8-10-05</vt:lpstr>
      <vt:lpstr>1_Palladium_Template_8-10-05</vt:lpstr>
      <vt:lpstr>Worksheet</vt:lpstr>
      <vt:lpstr>گزارش پیشرفت اقدامات استراتژیک</vt:lpstr>
      <vt:lpstr>راهنمای تکمیل گزارش</vt:lpstr>
      <vt:lpstr>راهنمای تکمیل گزارش (ادامه)</vt:lpstr>
      <vt:lpstr>فهرست اقدامات استراتژیک</vt:lpstr>
      <vt:lpstr>انجام مطالعات فنی و اجرای اقدامات لازم جهت برآورد سازی الزامات زیست محیطی</vt:lpstr>
      <vt:lpstr>وضعیت اجرای اقدام استراتژیک</vt:lpstr>
      <vt:lpstr>وضعیت اجرای اقدام استراتژیک</vt:lpstr>
      <vt:lpstr>وضعیت اجرای اقدام استراتژیک</vt:lpstr>
      <vt:lpstr>بازنگری نقشه راه تحقیق و توسعه در راستای استراتژی‌های جدید</vt:lpstr>
      <vt:lpstr>وضعیت اجرای اقدام استراتژیک</vt:lpstr>
      <vt:lpstr>وضعیت اجرای اقدام استراتژیک</vt:lpstr>
      <vt:lpstr>وضعیت اجرای اقدام استراتژیک</vt:lpstr>
      <vt:lpstr>انجام مطالعات و تحقیقات در نوآوری جهت بسته بندی و حمل محصول</vt:lpstr>
      <vt:lpstr>وضعیت اجرای اقدام استراتژیک</vt:lpstr>
      <vt:lpstr>وضعیت اجرای اقدام استراتژیک</vt:lpstr>
      <vt:lpstr>وضعیت اجرای اقدام استراتژیک</vt:lpstr>
      <vt:lpstr>بهبود فرآیندهای تحقیق و توسعه شرکت در تولید  و زنجیره عرضه</vt:lpstr>
      <vt:lpstr>وضعیت اجرای اقدام استراتژیک</vt:lpstr>
      <vt:lpstr>وضعیت اجرای اقدام استراتژیک</vt:lpstr>
      <vt:lpstr>وضعیت اجرای اقدام استراتژیک</vt:lpstr>
      <vt:lpstr>انجام مطالعات آماری و داده کاوی به منظور مدلسازی و  پیش بینی رفتار فرآیند تولید</vt:lpstr>
      <vt:lpstr>وضعیت اجرای اقدام استراتژیک</vt:lpstr>
      <vt:lpstr>وضعیت اجرای اقدام استراتژیک</vt:lpstr>
      <vt:lpstr>وضعیت اجرای اقدام استراتژیک</vt:lpstr>
      <vt:lpstr>افزایش سهم بودجه فعالیت های تحقیق و توسعه در سبد کسب و کار شرکت</vt:lpstr>
      <vt:lpstr>وضعیت اجرای اقدام استراتژیک</vt:lpstr>
      <vt:lpstr>وضعیت اجرای اقدام استراتژیک</vt:lpstr>
      <vt:lpstr>وضعیت اجرای اقدام استراتژیک</vt:lpstr>
      <vt:lpstr>مشارکت با مرکز تحقیقات وزارت راه و نهادهای دانشگاهی جهت بررسی و بازنگری پهنه بندی جغرافیایی</vt:lpstr>
      <vt:lpstr>وضعیت اجرای اقدام استراتژیک</vt:lpstr>
      <vt:lpstr>وضعیت اجرای اقدام استراتژیک</vt:lpstr>
      <vt:lpstr>وضعیت اجرای اقدام استراتژیک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lladium PPT Template</dc:title>
  <dc:creator>Palladium Group</dc:creator>
  <cp:lastModifiedBy>Sara Foroutan</cp:lastModifiedBy>
  <cp:revision>7141</cp:revision>
  <cp:lastPrinted>2018-11-10T10:46:00Z</cp:lastPrinted>
  <dcterms:created xsi:type="dcterms:W3CDTF">2005-08-26T13:04:37Z</dcterms:created>
  <dcterms:modified xsi:type="dcterms:W3CDTF">2019-07-21T07:02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">
    <vt:lpwstr>Document</vt:lpwstr>
  </property>
  <property fmtid="{D5CDD505-2E9C-101B-9397-08002B2CF9AE}" pid="3" name="Description0">
    <vt:lpwstr>Corporate Powerpoint Template</vt:lpwstr>
  </property>
  <property fmtid="{D5CDD505-2E9C-101B-9397-08002B2CF9AE}" pid="4" name="ContentTypeId">
    <vt:lpwstr>0x010100D6C2980BA6FC5847AA579EF7E63BE7F7</vt:lpwstr>
  </property>
</Properties>
</file>